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8" r:id="rId4"/>
  </p:sldMasterIdLst>
  <p:notesMasterIdLst>
    <p:notesMasterId r:id="rId56"/>
  </p:notesMasterIdLst>
  <p:sldIdLst>
    <p:sldId id="257" r:id="rId5"/>
    <p:sldId id="346" r:id="rId6"/>
    <p:sldId id="299" r:id="rId7"/>
    <p:sldId id="303" r:id="rId8"/>
    <p:sldId id="300" r:id="rId9"/>
    <p:sldId id="304" r:id="rId10"/>
    <p:sldId id="296" r:id="rId11"/>
    <p:sldId id="298" r:id="rId12"/>
    <p:sldId id="331" r:id="rId13"/>
    <p:sldId id="305" r:id="rId14"/>
    <p:sldId id="332" r:id="rId15"/>
    <p:sldId id="306" r:id="rId16"/>
    <p:sldId id="333" r:id="rId17"/>
    <p:sldId id="307" r:id="rId18"/>
    <p:sldId id="334" r:id="rId19"/>
    <p:sldId id="308" r:id="rId20"/>
    <p:sldId id="335" r:id="rId21"/>
    <p:sldId id="309" r:id="rId22"/>
    <p:sldId id="336" r:id="rId23"/>
    <p:sldId id="310" r:id="rId24"/>
    <p:sldId id="337" r:id="rId25"/>
    <p:sldId id="341" r:id="rId26"/>
    <p:sldId id="312" r:id="rId27"/>
    <p:sldId id="313" r:id="rId28"/>
    <p:sldId id="342" r:id="rId29"/>
    <p:sldId id="311" r:id="rId30"/>
    <p:sldId id="340" r:id="rId31"/>
    <p:sldId id="314" r:id="rId32"/>
    <p:sldId id="338" r:id="rId33"/>
    <p:sldId id="316" r:id="rId34"/>
    <p:sldId id="343" r:id="rId35"/>
    <p:sldId id="317" r:id="rId36"/>
    <p:sldId id="344" r:id="rId37"/>
    <p:sldId id="350" r:id="rId38"/>
    <p:sldId id="345" r:id="rId39"/>
    <p:sldId id="302" r:id="rId40"/>
    <p:sldId id="318" r:id="rId41"/>
    <p:sldId id="319" r:id="rId42"/>
    <p:sldId id="320" r:id="rId43"/>
    <p:sldId id="321" r:id="rId44"/>
    <p:sldId id="322" r:id="rId45"/>
    <p:sldId id="324" r:id="rId46"/>
    <p:sldId id="325" r:id="rId47"/>
    <p:sldId id="326" r:id="rId48"/>
    <p:sldId id="327" r:id="rId49"/>
    <p:sldId id="323" r:id="rId50"/>
    <p:sldId id="315" r:id="rId51"/>
    <p:sldId id="347" r:id="rId52"/>
    <p:sldId id="328" r:id="rId53"/>
    <p:sldId id="348" r:id="rId54"/>
    <p:sldId id="349"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xas Education Agency" id="{AEEA0E45-1603-4493-A81E-6D8C16954D4A}">
          <p14:sldIdLst>
            <p14:sldId id="257"/>
            <p14:sldId id="346"/>
            <p14:sldId id="299"/>
            <p14:sldId id="303"/>
            <p14:sldId id="300"/>
            <p14:sldId id="304"/>
            <p14:sldId id="296"/>
            <p14:sldId id="298"/>
            <p14:sldId id="331"/>
            <p14:sldId id="305"/>
            <p14:sldId id="332"/>
            <p14:sldId id="306"/>
            <p14:sldId id="333"/>
            <p14:sldId id="307"/>
            <p14:sldId id="334"/>
            <p14:sldId id="308"/>
            <p14:sldId id="335"/>
            <p14:sldId id="309"/>
            <p14:sldId id="336"/>
            <p14:sldId id="310"/>
            <p14:sldId id="337"/>
            <p14:sldId id="341"/>
            <p14:sldId id="312"/>
            <p14:sldId id="313"/>
            <p14:sldId id="342"/>
            <p14:sldId id="311"/>
            <p14:sldId id="340"/>
            <p14:sldId id="314"/>
            <p14:sldId id="338"/>
            <p14:sldId id="316"/>
            <p14:sldId id="343"/>
            <p14:sldId id="317"/>
            <p14:sldId id="344"/>
            <p14:sldId id="350"/>
            <p14:sldId id="345"/>
            <p14:sldId id="302"/>
            <p14:sldId id="318"/>
            <p14:sldId id="319"/>
            <p14:sldId id="320"/>
            <p14:sldId id="321"/>
            <p14:sldId id="322"/>
            <p14:sldId id="324"/>
            <p14:sldId id="325"/>
            <p14:sldId id="326"/>
            <p14:sldId id="327"/>
            <p14:sldId id="323"/>
            <p14:sldId id="315"/>
            <p14:sldId id="347"/>
            <p14:sldId id="328"/>
            <p14:sldId id="348"/>
            <p14:sldId id="3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191B19-2472-382F-EA3F-CBF579031473}" name="Hanson, Terri" initials="TH" userId="S::Terri.Hanson@tea.texas.gov::a02fd813-d4f3-43fd-83dd-7393041517de" providerId="AD"/>
  <p188:author id="{DC4D774C-9497-7F7F-EF7B-A7BB31449806}" name="Muffoletto, Jamie" initials="JM" userId="S::Jamie.Muffoletto@tea.texas.gov::daf1e3c6-8137-448a-b141-d23049d419b5" providerId="AD"/>
  <p188:author id="{BDFD9A50-23A6-9202-42EA-1A2839518951}" name="Boachie, Jessica" initials="BJ" userId="S::jessica.boachie@tea.texas.gov::94819919-9f3d-4788-8a7e-38ec2a28b9c9" providerId="AD"/>
  <p188:author id="{04816165-A551-92C0-EA48-4DFCE1FE46A9}" name="Simons, Leanne" initials="SL" userId="S::leanne.simons@tea.texas.gov::f0b41770-584b-4844-b5c5-b29dec998724" providerId="AD"/>
  <p188:author id="{00513F6E-B2A7-8FD4-EB4B-5CAF9057E4FC}" name="Muffoletto, Jamie" initials="MJ" userId="S::jamie.muffoletto@tea.texas.gov::daf1e3c6-8137-448a-b141-d23049d419b5" providerId="AD"/>
  <p188:author id="{F4516B73-73C4-5177-4515-8826750F5723}" name="Palin, Lisa" initials="PL" userId="S::lisa.palin@tea.texas.gov::1769e128-c944-4bfb-b65b-556386712adf" providerId="AD"/>
  <p188:author id="{45EC7AC7-A19A-24F5-9794-B525E5C73E20}" name="Young, Tracy" initials="YT" userId="S::tracy.young@tea.texas.gov::6a168d06-ef8d-4dbe-aa68-3805ae9f332f" providerId="AD"/>
  <p188:author id="{5F46B0E1-9DEB-D19E-B2E1-60458D1113A8}" name="Adjei-Frimpong, King" initials="AFK" userId="S::King.Adjei-Frimpong@tea.texas.gov::352fb122-031f-492d-bd9d-6d648074a3b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47F42"/>
    <a:srgbClr val="0D6CB9"/>
    <a:srgbClr val="D85632"/>
    <a:srgbClr val="012169"/>
    <a:srgbClr val="A6A6A6"/>
    <a:srgbClr val="767171"/>
    <a:srgbClr val="3165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72157A-9474-4EB1-8BBD-69A0A007F730}" v="4" dt="2025-07-24T17:40:54.866"/>
    <p1510:client id="{DDE82D7E-8C57-4757-859B-4947FB684CA1}" v="68" dt="2025-07-24T17:51:30.2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ffoletto, Jamie" userId="daf1e3c6-8137-448a-b141-d23049d419b5" providerId="ADAL" clId="{32F44A3F-12BC-437C-AC96-AAB1A2E01894}"/>
    <pc:docChg chg="undo custSel addSld delSld modSld sldOrd modSection">
      <pc:chgData name="Muffoletto, Jamie" userId="daf1e3c6-8137-448a-b141-d23049d419b5" providerId="ADAL" clId="{32F44A3F-12BC-437C-AC96-AAB1A2E01894}" dt="2025-07-20T02:20:46.738" v="17068" actId="13244"/>
      <pc:docMkLst>
        <pc:docMk/>
      </pc:docMkLst>
      <pc:sldChg chg="delSp modSp mod">
        <pc:chgData name="Muffoletto, Jamie" userId="daf1e3c6-8137-448a-b141-d23049d419b5" providerId="ADAL" clId="{32F44A3F-12BC-437C-AC96-AAB1A2E01894}" dt="2025-07-12T22:30:34.650" v="204" actId="1076"/>
        <pc:sldMkLst>
          <pc:docMk/>
          <pc:sldMk cId="4130700174" sldId="257"/>
        </pc:sldMkLst>
        <pc:spChg chg="mod">
          <ac:chgData name="Muffoletto, Jamie" userId="daf1e3c6-8137-448a-b141-d23049d419b5" providerId="ADAL" clId="{32F44A3F-12BC-437C-AC96-AAB1A2E01894}" dt="2025-07-12T22:30:34.650" v="204" actId="1076"/>
          <ac:spMkLst>
            <pc:docMk/>
            <pc:sldMk cId="4130700174" sldId="257"/>
            <ac:spMk id="9" creationId="{5CDB7216-528E-3005-245A-24D9A1498BDF}"/>
          </ac:spMkLst>
        </pc:spChg>
      </pc:sldChg>
      <pc:sldChg chg="modSp mod">
        <pc:chgData name="Muffoletto, Jamie" userId="daf1e3c6-8137-448a-b141-d23049d419b5" providerId="ADAL" clId="{32F44A3F-12BC-437C-AC96-AAB1A2E01894}" dt="2025-07-13T00:09:55.769" v="722" actId="207"/>
        <pc:sldMkLst>
          <pc:docMk/>
          <pc:sldMk cId="1453625246" sldId="296"/>
        </pc:sldMkLst>
        <pc:spChg chg="mod">
          <ac:chgData name="Muffoletto, Jamie" userId="daf1e3c6-8137-448a-b141-d23049d419b5" providerId="ADAL" clId="{32F44A3F-12BC-437C-AC96-AAB1A2E01894}" dt="2025-07-13T00:09:55.769" v="722" actId="207"/>
          <ac:spMkLst>
            <pc:docMk/>
            <pc:sldMk cId="1453625246" sldId="296"/>
            <ac:spMk id="3" creationId="{81EB19CA-5243-FFE6-F3D5-3EE237164931}"/>
          </ac:spMkLst>
        </pc:spChg>
      </pc:sldChg>
      <pc:sldChg chg="del">
        <pc:chgData name="Muffoletto, Jamie" userId="daf1e3c6-8137-448a-b141-d23049d419b5" providerId="ADAL" clId="{32F44A3F-12BC-437C-AC96-AAB1A2E01894}" dt="2025-07-13T01:51:04.732" v="3020" actId="47"/>
        <pc:sldMkLst>
          <pc:docMk/>
          <pc:sldMk cId="250934758" sldId="297"/>
        </pc:sldMkLst>
      </pc:sldChg>
      <pc:sldChg chg="addSp delSp modSp mod">
        <pc:chgData name="Muffoletto, Jamie" userId="daf1e3c6-8137-448a-b141-d23049d419b5" providerId="ADAL" clId="{32F44A3F-12BC-437C-AC96-AAB1A2E01894}" dt="2025-07-20T01:51:55.535" v="16951" actId="6549"/>
        <pc:sldMkLst>
          <pc:docMk/>
          <pc:sldMk cId="3377003606" sldId="298"/>
        </pc:sldMkLst>
        <pc:spChg chg="mod">
          <ac:chgData name="Muffoletto, Jamie" userId="daf1e3c6-8137-448a-b141-d23049d419b5" providerId="ADAL" clId="{32F44A3F-12BC-437C-AC96-AAB1A2E01894}" dt="2025-07-18T21:20:11.687" v="4839" actId="20577"/>
          <ac:spMkLst>
            <pc:docMk/>
            <pc:sldMk cId="3377003606" sldId="298"/>
            <ac:spMk id="5" creationId="{AC750500-EF7C-EEFE-5B24-0167B529500F}"/>
          </ac:spMkLst>
        </pc:spChg>
        <pc:spChg chg="mod">
          <ac:chgData name="Muffoletto, Jamie" userId="daf1e3c6-8137-448a-b141-d23049d419b5" providerId="ADAL" clId="{32F44A3F-12BC-437C-AC96-AAB1A2E01894}" dt="2025-07-20T01:51:55.535" v="16951" actId="6549"/>
          <ac:spMkLst>
            <pc:docMk/>
            <pc:sldMk cId="3377003606" sldId="298"/>
            <ac:spMk id="6" creationId="{481A7865-40B7-060A-F4CA-2E317B9DEF24}"/>
          </ac:spMkLst>
        </pc:spChg>
      </pc:sldChg>
      <pc:sldChg chg="addSp delSp modSp add mod ord">
        <pc:chgData name="Muffoletto, Jamie" userId="daf1e3c6-8137-448a-b141-d23049d419b5" providerId="ADAL" clId="{32F44A3F-12BC-437C-AC96-AAB1A2E01894}" dt="2025-07-19T15:26:23.492" v="7674" actId="20577"/>
        <pc:sldMkLst>
          <pc:docMk/>
          <pc:sldMk cId="161098843" sldId="299"/>
        </pc:sldMkLst>
        <pc:spChg chg="mod">
          <ac:chgData name="Muffoletto, Jamie" userId="daf1e3c6-8137-448a-b141-d23049d419b5" providerId="ADAL" clId="{32F44A3F-12BC-437C-AC96-AAB1A2E01894}" dt="2025-07-19T15:26:23.492" v="7674" actId="20577"/>
          <ac:spMkLst>
            <pc:docMk/>
            <pc:sldMk cId="161098843" sldId="299"/>
            <ac:spMk id="4" creationId="{794A100F-6FB4-AD09-5DAF-0CF5B1340414}"/>
          </ac:spMkLst>
        </pc:spChg>
        <pc:spChg chg="add mod">
          <ac:chgData name="Muffoletto, Jamie" userId="daf1e3c6-8137-448a-b141-d23049d419b5" providerId="ADAL" clId="{32F44A3F-12BC-437C-AC96-AAB1A2E01894}" dt="2025-07-18T21:20:23.704" v="4843" actId="20577"/>
          <ac:spMkLst>
            <pc:docMk/>
            <pc:sldMk cId="161098843" sldId="299"/>
            <ac:spMk id="6" creationId="{EEC02397-CF23-8071-0DC5-5D4C36301918}"/>
          </ac:spMkLst>
        </pc:spChg>
      </pc:sldChg>
      <pc:sldChg chg="addSp modSp add mod">
        <pc:chgData name="Muffoletto, Jamie" userId="daf1e3c6-8137-448a-b141-d23049d419b5" providerId="ADAL" clId="{32F44A3F-12BC-437C-AC96-AAB1A2E01894}" dt="2025-07-19T15:27:02.216" v="7713" actId="20577"/>
        <pc:sldMkLst>
          <pc:docMk/>
          <pc:sldMk cId="970914418" sldId="300"/>
        </pc:sldMkLst>
        <pc:spChg chg="add mod">
          <ac:chgData name="Muffoletto, Jamie" userId="daf1e3c6-8137-448a-b141-d23049d419b5" providerId="ADAL" clId="{32F44A3F-12BC-437C-AC96-AAB1A2E01894}" dt="2025-07-13T01:48:44.533" v="2991" actId="207"/>
          <ac:spMkLst>
            <pc:docMk/>
            <pc:sldMk cId="970914418" sldId="300"/>
            <ac:spMk id="2" creationId="{BD4B6C70-257D-49CC-5A9B-AD5D7F704E65}"/>
          </ac:spMkLst>
        </pc:spChg>
        <pc:spChg chg="mod">
          <ac:chgData name="Muffoletto, Jamie" userId="daf1e3c6-8137-448a-b141-d23049d419b5" providerId="ADAL" clId="{32F44A3F-12BC-437C-AC96-AAB1A2E01894}" dt="2025-07-19T15:27:02.216" v="7713" actId="20577"/>
          <ac:spMkLst>
            <pc:docMk/>
            <pc:sldMk cId="970914418" sldId="300"/>
            <ac:spMk id="4" creationId="{103B5430-191A-AD94-D6DC-8BC900340A99}"/>
          </ac:spMkLst>
        </pc:spChg>
      </pc:sldChg>
      <pc:sldChg chg="modSp add del mod">
        <pc:chgData name="Muffoletto, Jamie" userId="daf1e3c6-8137-448a-b141-d23049d419b5" providerId="ADAL" clId="{32F44A3F-12BC-437C-AC96-AAB1A2E01894}" dt="2025-07-13T01:50:42.332" v="3019" actId="47"/>
        <pc:sldMkLst>
          <pc:docMk/>
          <pc:sldMk cId="2107760673" sldId="301"/>
        </pc:sldMkLst>
      </pc:sldChg>
      <pc:sldChg chg="add">
        <pc:chgData name="Muffoletto, Jamie" userId="daf1e3c6-8137-448a-b141-d23049d419b5" providerId="ADAL" clId="{32F44A3F-12BC-437C-AC96-AAB1A2E01894}" dt="2025-07-13T02:09:00.700" v="3986"/>
        <pc:sldMkLst>
          <pc:docMk/>
          <pc:sldMk cId="1446707497" sldId="302"/>
        </pc:sldMkLst>
      </pc:sldChg>
      <pc:sldChg chg="modSp add del mod">
        <pc:chgData name="Muffoletto, Jamie" userId="daf1e3c6-8137-448a-b141-d23049d419b5" providerId="ADAL" clId="{32F44A3F-12BC-437C-AC96-AAB1A2E01894}" dt="2025-07-13T02:08:53.920" v="3985" actId="2696"/>
        <pc:sldMkLst>
          <pc:docMk/>
          <pc:sldMk cId="2059405371" sldId="302"/>
        </pc:sldMkLst>
      </pc:sldChg>
      <pc:sldChg chg="addSp modSp add mod">
        <pc:chgData name="Muffoletto, Jamie" userId="daf1e3c6-8137-448a-b141-d23049d419b5" providerId="ADAL" clId="{32F44A3F-12BC-437C-AC96-AAB1A2E01894}" dt="2025-07-19T23:34:20.256" v="14633" actId="20577"/>
        <pc:sldMkLst>
          <pc:docMk/>
          <pc:sldMk cId="3620040107" sldId="303"/>
        </pc:sldMkLst>
        <pc:spChg chg="mod">
          <ac:chgData name="Muffoletto, Jamie" userId="daf1e3c6-8137-448a-b141-d23049d419b5" providerId="ADAL" clId="{32F44A3F-12BC-437C-AC96-AAB1A2E01894}" dt="2025-07-19T15:26:52.424" v="7703" actId="20577"/>
          <ac:spMkLst>
            <pc:docMk/>
            <pc:sldMk cId="3620040107" sldId="303"/>
            <ac:spMk id="4" creationId="{9CCCD41D-0518-EE58-2554-388556FF77B7}"/>
          </ac:spMkLst>
        </pc:spChg>
        <pc:spChg chg="mod">
          <ac:chgData name="Muffoletto, Jamie" userId="daf1e3c6-8137-448a-b141-d23049d419b5" providerId="ADAL" clId="{32F44A3F-12BC-437C-AC96-AAB1A2E01894}" dt="2025-07-19T23:34:20.256" v="14633" actId="20577"/>
          <ac:spMkLst>
            <pc:docMk/>
            <pc:sldMk cId="3620040107" sldId="303"/>
            <ac:spMk id="6" creationId="{9B2D2275-2892-1AC9-2664-A69D91657ABF}"/>
          </ac:spMkLst>
        </pc:spChg>
      </pc:sldChg>
      <pc:sldChg chg="modSp add mod">
        <pc:chgData name="Muffoletto, Jamie" userId="daf1e3c6-8137-448a-b141-d23049d419b5" providerId="ADAL" clId="{32F44A3F-12BC-437C-AC96-AAB1A2E01894}" dt="2025-07-19T23:32:50.811" v="14632" actId="20577"/>
        <pc:sldMkLst>
          <pc:docMk/>
          <pc:sldMk cId="1073847132" sldId="304"/>
        </pc:sldMkLst>
        <pc:spChg chg="mod">
          <ac:chgData name="Muffoletto, Jamie" userId="daf1e3c6-8137-448a-b141-d23049d419b5" providerId="ADAL" clId="{32F44A3F-12BC-437C-AC96-AAB1A2E01894}" dt="2025-07-19T23:32:50.811" v="14632" actId="20577"/>
          <ac:spMkLst>
            <pc:docMk/>
            <pc:sldMk cId="1073847132" sldId="304"/>
            <ac:spMk id="2" creationId="{58E19228-5582-4187-0454-3C34E66974C9}"/>
          </ac:spMkLst>
        </pc:spChg>
        <pc:spChg chg="mod">
          <ac:chgData name="Muffoletto, Jamie" userId="daf1e3c6-8137-448a-b141-d23049d419b5" providerId="ADAL" clId="{32F44A3F-12BC-437C-AC96-AAB1A2E01894}" dt="2025-07-19T15:27:15.110" v="7736" actId="20577"/>
          <ac:spMkLst>
            <pc:docMk/>
            <pc:sldMk cId="1073847132" sldId="304"/>
            <ac:spMk id="4" creationId="{814B352A-57C5-15EC-3ECF-E61E6F9EE6EF}"/>
          </ac:spMkLst>
        </pc:spChg>
      </pc:sldChg>
      <pc:sldChg chg="addSp delSp modSp add mod">
        <pc:chgData name="Muffoletto, Jamie" userId="daf1e3c6-8137-448a-b141-d23049d419b5" providerId="ADAL" clId="{32F44A3F-12BC-437C-AC96-AAB1A2E01894}" dt="2025-07-20T02:14:25.136" v="17039" actId="14100"/>
        <pc:sldMkLst>
          <pc:docMk/>
          <pc:sldMk cId="1007712151" sldId="305"/>
        </pc:sldMkLst>
        <pc:spChg chg="mod">
          <ac:chgData name="Muffoletto, Jamie" userId="daf1e3c6-8137-448a-b141-d23049d419b5" providerId="ADAL" clId="{32F44A3F-12BC-437C-AC96-AAB1A2E01894}" dt="2025-07-13T01:56:02.120" v="3139" actId="20577"/>
          <ac:spMkLst>
            <pc:docMk/>
            <pc:sldMk cId="1007712151" sldId="305"/>
            <ac:spMk id="5" creationId="{01F06A03-DC44-1D5F-BEF0-44D8D60891CD}"/>
          </ac:spMkLst>
        </pc:spChg>
        <pc:spChg chg="mod">
          <ac:chgData name="Muffoletto, Jamie" userId="daf1e3c6-8137-448a-b141-d23049d419b5" providerId="ADAL" clId="{32F44A3F-12BC-437C-AC96-AAB1A2E01894}" dt="2025-07-20T02:14:25.136" v="17039" actId="14100"/>
          <ac:spMkLst>
            <pc:docMk/>
            <pc:sldMk cId="1007712151" sldId="305"/>
            <ac:spMk id="6" creationId="{22D80521-C119-4558-3A69-32A647093359}"/>
          </ac:spMkLst>
        </pc:spChg>
      </pc:sldChg>
      <pc:sldChg chg="addSp delSp modSp add mod">
        <pc:chgData name="Muffoletto, Jamie" userId="daf1e3c6-8137-448a-b141-d23049d419b5" providerId="ADAL" clId="{32F44A3F-12BC-437C-AC96-AAB1A2E01894}" dt="2025-07-20T02:14:34.011" v="17041" actId="14100"/>
        <pc:sldMkLst>
          <pc:docMk/>
          <pc:sldMk cId="434198252" sldId="306"/>
        </pc:sldMkLst>
        <pc:spChg chg="mod">
          <ac:chgData name="Muffoletto, Jamie" userId="daf1e3c6-8137-448a-b141-d23049d419b5" providerId="ADAL" clId="{32F44A3F-12BC-437C-AC96-AAB1A2E01894}" dt="2025-07-13T01:56:36.359" v="3195" actId="20577"/>
          <ac:spMkLst>
            <pc:docMk/>
            <pc:sldMk cId="434198252" sldId="306"/>
            <ac:spMk id="5" creationId="{EB2A098E-339B-7564-C2DD-44FA1F17BD51}"/>
          </ac:spMkLst>
        </pc:spChg>
        <pc:spChg chg="mod">
          <ac:chgData name="Muffoletto, Jamie" userId="daf1e3c6-8137-448a-b141-d23049d419b5" providerId="ADAL" clId="{32F44A3F-12BC-437C-AC96-AAB1A2E01894}" dt="2025-07-20T02:14:34.011" v="17041" actId="14100"/>
          <ac:spMkLst>
            <pc:docMk/>
            <pc:sldMk cId="434198252" sldId="306"/>
            <ac:spMk id="6" creationId="{DFB1D130-ECD8-36A2-888B-4D9DD83448F8}"/>
          </ac:spMkLst>
        </pc:spChg>
      </pc:sldChg>
      <pc:sldChg chg="addSp delSp modSp add mod">
        <pc:chgData name="Muffoletto, Jamie" userId="daf1e3c6-8137-448a-b141-d23049d419b5" providerId="ADAL" clId="{32F44A3F-12BC-437C-AC96-AAB1A2E01894}" dt="2025-07-20T02:17:34.608" v="17053" actId="13244"/>
        <pc:sldMkLst>
          <pc:docMk/>
          <pc:sldMk cId="4127228677" sldId="307"/>
        </pc:sldMkLst>
        <pc:spChg chg="ord">
          <ac:chgData name="Muffoletto, Jamie" userId="daf1e3c6-8137-448a-b141-d23049d419b5" providerId="ADAL" clId="{32F44A3F-12BC-437C-AC96-AAB1A2E01894}" dt="2025-07-20T02:17:34.608" v="17053" actId="13244"/>
          <ac:spMkLst>
            <pc:docMk/>
            <pc:sldMk cId="4127228677" sldId="307"/>
            <ac:spMk id="4" creationId="{8FB44DA7-875F-EDAE-438F-0F695A4773F5}"/>
          </ac:spMkLst>
        </pc:spChg>
        <pc:spChg chg="mod">
          <ac:chgData name="Muffoletto, Jamie" userId="daf1e3c6-8137-448a-b141-d23049d419b5" providerId="ADAL" clId="{32F44A3F-12BC-437C-AC96-AAB1A2E01894}" dt="2025-07-13T01:57:08.386" v="3261" actId="20577"/>
          <ac:spMkLst>
            <pc:docMk/>
            <pc:sldMk cId="4127228677" sldId="307"/>
            <ac:spMk id="5" creationId="{2133443D-4006-1C67-3E71-65E896E06190}"/>
          </ac:spMkLst>
        </pc:spChg>
        <pc:spChg chg="mod">
          <ac:chgData name="Muffoletto, Jamie" userId="daf1e3c6-8137-448a-b141-d23049d419b5" providerId="ADAL" clId="{32F44A3F-12BC-437C-AC96-AAB1A2E01894}" dt="2025-07-20T02:14:43.513" v="17042" actId="403"/>
          <ac:spMkLst>
            <pc:docMk/>
            <pc:sldMk cId="4127228677" sldId="307"/>
            <ac:spMk id="6" creationId="{9DD3BF99-E29E-DB31-01F1-A133462A4454}"/>
          </ac:spMkLst>
        </pc:spChg>
        <pc:spChg chg="add mod">
          <ac:chgData name="Muffoletto, Jamie" userId="daf1e3c6-8137-448a-b141-d23049d419b5" providerId="ADAL" clId="{32F44A3F-12BC-437C-AC96-AAB1A2E01894}" dt="2025-07-20T01:57:27.973" v="16967" actId="20577"/>
          <ac:spMkLst>
            <pc:docMk/>
            <pc:sldMk cId="4127228677" sldId="307"/>
            <ac:spMk id="8" creationId="{E4F7971E-06CD-1E20-6A8C-2844DEC657A8}"/>
          </ac:spMkLst>
        </pc:spChg>
      </pc:sldChg>
      <pc:sldChg chg="addSp delSp modSp add mod">
        <pc:chgData name="Muffoletto, Jamie" userId="daf1e3c6-8137-448a-b141-d23049d419b5" providerId="ADAL" clId="{32F44A3F-12BC-437C-AC96-AAB1A2E01894}" dt="2025-07-20T02:14:51.228" v="17043" actId="403"/>
        <pc:sldMkLst>
          <pc:docMk/>
          <pc:sldMk cId="2215531820" sldId="308"/>
        </pc:sldMkLst>
        <pc:spChg chg="mod">
          <ac:chgData name="Muffoletto, Jamie" userId="daf1e3c6-8137-448a-b141-d23049d419b5" providerId="ADAL" clId="{32F44A3F-12BC-437C-AC96-AAB1A2E01894}" dt="2025-07-13T01:57:49.888" v="3338" actId="20577"/>
          <ac:spMkLst>
            <pc:docMk/>
            <pc:sldMk cId="2215531820" sldId="308"/>
            <ac:spMk id="5" creationId="{8536C4F0-6E3D-3EF1-7098-84C441BDFF4A}"/>
          </ac:spMkLst>
        </pc:spChg>
        <pc:spChg chg="mod">
          <ac:chgData name="Muffoletto, Jamie" userId="daf1e3c6-8137-448a-b141-d23049d419b5" providerId="ADAL" clId="{32F44A3F-12BC-437C-AC96-AAB1A2E01894}" dt="2025-07-20T02:14:51.228" v="17043" actId="403"/>
          <ac:spMkLst>
            <pc:docMk/>
            <pc:sldMk cId="2215531820" sldId="308"/>
            <ac:spMk id="6" creationId="{418E36FA-4883-EF41-3552-D262D2A1CD0E}"/>
          </ac:spMkLst>
        </pc:spChg>
      </pc:sldChg>
      <pc:sldChg chg="addSp delSp modSp add mod">
        <pc:chgData name="Muffoletto, Jamie" userId="daf1e3c6-8137-448a-b141-d23049d419b5" providerId="ADAL" clId="{32F44A3F-12BC-437C-AC96-AAB1A2E01894}" dt="2025-07-20T02:15:01.613" v="17045" actId="14100"/>
        <pc:sldMkLst>
          <pc:docMk/>
          <pc:sldMk cId="3241121300" sldId="309"/>
        </pc:sldMkLst>
        <pc:spChg chg="mod">
          <ac:chgData name="Muffoletto, Jamie" userId="daf1e3c6-8137-448a-b141-d23049d419b5" providerId="ADAL" clId="{32F44A3F-12BC-437C-AC96-AAB1A2E01894}" dt="2025-07-13T01:58:32.490" v="3418" actId="20577"/>
          <ac:spMkLst>
            <pc:docMk/>
            <pc:sldMk cId="3241121300" sldId="309"/>
            <ac:spMk id="5" creationId="{01602150-D5D3-3D8B-6E22-359EE8E7C56E}"/>
          </ac:spMkLst>
        </pc:spChg>
        <pc:spChg chg="mod">
          <ac:chgData name="Muffoletto, Jamie" userId="daf1e3c6-8137-448a-b141-d23049d419b5" providerId="ADAL" clId="{32F44A3F-12BC-437C-AC96-AAB1A2E01894}" dt="2025-07-20T02:15:01.613" v="17045" actId="14100"/>
          <ac:spMkLst>
            <pc:docMk/>
            <pc:sldMk cId="3241121300" sldId="309"/>
            <ac:spMk id="6" creationId="{10498B32-4222-2E36-1CCB-B37915CA066F}"/>
          </ac:spMkLst>
        </pc:spChg>
      </pc:sldChg>
      <pc:sldChg chg="addSp delSp modSp add mod">
        <pc:chgData name="Muffoletto, Jamie" userId="daf1e3c6-8137-448a-b141-d23049d419b5" providerId="ADAL" clId="{32F44A3F-12BC-437C-AC96-AAB1A2E01894}" dt="2025-07-20T02:15:09.827" v="17047" actId="403"/>
        <pc:sldMkLst>
          <pc:docMk/>
          <pc:sldMk cId="235025504" sldId="310"/>
        </pc:sldMkLst>
        <pc:spChg chg="mod">
          <ac:chgData name="Muffoletto, Jamie" userId="daf1e3c6-8137-448a-b141-d23049d419b5" providerId="ADAL" clId="{32F44A3F-12BC-437C-AC96-AAB1A2E01894}" dt="2025-07-13T01:59:01.252" v="3466" actId="20577"/>
          <ac:spMkLst>
            <pc:docMk/>
            <pc:sldMk cId="235025504" sldId="310"/>
            <ac:spMk id="5" creationId="{C64AE5C4-90A4-083E-A152-2CD24EEDCE5C}"/>
          </ac:spMkLst>
        </pc:spChg>
        <pc:spChg chg="mod">
          <ac:chgData name="Muffoletto, Jamie" userId="daf1e3c6-8137-448a-b141-d23049d419b5" providerId="ADAL" clId="{32F44A3F-12BC-437C-AC96-AAB1A2E01894}" dt="2025-07-20T02:15:09.827" v="17047" actId="403"/>
          <ac:spMkLst>
            <pc:docMk/>
            <pc:sldMk cId="235025504" sldId="310"/>
            <ac:spMk id="6" creationId="{B60A1CAD-B2DE-D888-4780-C501CA309775}"/>
          </ac:spMkLst>
        </pc:spChg>
      </pc:sldChg>
      <pc:sldChg chg="modSp add mod">
        <pc:chgData name="Muffoletto, Jamie" userId="daf1e3c6-8137-448a-b141-d23049d419b5" providerId="ADAL" clId="{32F44A3F-12BC-437C-AC96-AAB1A2E01894}" dt="2025-07-19T19:42:24.795" v="13867" actId="20577"/>
        <pc:sldMkLst>
          <pc:docMk/>
          <pc:sldMk cId="2446134874" sldId="311"/>
        </pc:sldMkLst>
        <pc:spChg chg="mod">
          <ac:chgData name="Muffoletto, Jamie" userId="daf1e3c6-8137-448a-b141-d23049d419b5" providerId="ADAL" clId="{32F44A3F-12BC-437C-AC96-AAB1A2E01894}" dt="2025-07-19T16:37:18.951" v="12930" actId="6549"/>
          <ac:spMkLst>
            <pc:docMk/>
            <pc:sldMk cId="2446134874" sldId="311"/>
            <ac:spMk id="5" creationId="{2D16EA15-A989-12B9-9FCC-698FBACF3679}"/>
          </ac:spMkLst>
        </pc:spChg>
        <pc:spChg chg="mod">
          <ac:chgData name="Muffoletto, Jamie" userId="daf1e3c6-8137-448a-b141-d23049d419b5" providerId="ADAL" clId="{32F44A3F-12BC-437C-AC96-AAB1A2E01894}" dt="2025-07-19T19:42:24.795" v="13867" actId="20577"/>
          <ac:spMkLst>
            <pc:docMk/>
            <pc:sldMk cId="2446134874" sldId="311"/>
            <ac:spMk id="6" creationId="{9798629F-F241-88B5-8FFC-974E3BCA5E20}"/>
          </ac:spMkLst>
        </pc:spChg>
      </pc:sldChg>
      <pc:sldChg chg="addSp delSp modSp add del mod">
        <pc:chgData name="Muffoletto, Jamie" userId="daf1e3c6-8137-448a-b141-d23049d419b5" providerId="ADAL" clId="{32F44A3F-12BC-437C-AC96-AAB1A2E01894}" dt="2025-07-19T16:36:57.682" v="12924" actId="2696"/>
        <pc:sldMkLst>
          <pc:docMk/>
          <pc:sldMk cId="2764724865" sldId="311"/>
        </pc:sldMkLst>
      </pc:sldChg>
      <pc:sldChg chg="modSp add mod">
        <pc:chgData name="Muffoletto, Jamie" userId="daf1e3c6-8137-448a-b141-d23049d419b5" providerId="ADAL" clId="{32F44A3F-12BC-437C-AC96-AAB1A2E01894}" dt="2025-07-19T23:11:42.800" v="14486" actId="20577"/>
        <pc:sldMkLst>
          <pc:docMk/>
          <pc:sldMk cId="1581999935" sldId="312"/>
        </pc:sldMkLst>
        <pc:spChg chg="mod">
          <ac:chgData name="Muffoletto, Jamie" userId="daf1e3c6-8137-448a-b141-d23049d419b5" providerId="ADAL" clId="{32F44A3F-12BC-437C-AC96-AAB1A2E01894}" dt="2025-07-19T23:11:42.800" v="14486" actId="20577"/>
          <ac:spMkLst>
            <pc:docMk/>
            <pc:sldMk cId="1581999935" sldId="312"/>
            <ac:spMk id="7" creationId="{1902071B-2B55-A5FF-BC66-9AF383259740}"/>
          </ac:spMkLst>
        </pc:spChg>
        <pc:spChg chg="mod">
          <ac:chgData name="Muffoletto, Jamie" userId="daf1e3c6-8137-448a-b141-d23049d419b5" providerId="ADAL" clId="{32F44A3F-12BC-437C-AC96-AAB1A2E01894}" dt="2025-07-19T18:53:48.366" v="13317" actId="14100"/>
          <ac:spMkLst>
            <pc:docMk/>
            <pc:sldMk cId="1581999935" sldId="312"/>
            <ac:spMk id="8" creationId="{0A63A6A3-7A90-1302-5A4A-4105C60EE05D}"/>
          </ac:spMkLst>
        </pc:spChg>
      </pc:sldChg>
      <pc:sldChg chg="addSp delSp modSp add del mod">
        <pc:chgData name="Muffoletto, Jamie" userId="daf1e3c6-8137-448a-b141-d23049d419b5" providerId="ADAL" clId="{32F44A3F-12BC-437C-AC96-AAB1A2E01894}" dt="2025-07-19T16:38:04.841" v="12938" actId="2696"/>
        <pc:sldMkLst>
          <pc:docMk/>
          <pc:sldMk cId="2573720132" sldId="312"/>
        </pc:sldMkLst>
      </pc:sldChg>
      <pc:sldChg chg="modSp add del mod">
        <pc:chgData name="Muffoletto, Jamie" userId="daf1e3c6-8137-448a-b141-d23049d419b5" providerId="ADAL" clId="{32F44A3F-12BC-437C-AC96-AAB1A2E01894}" dt="2025-07-19T16:43:53.859" v="12982" actId="2696"/>
        <pc:sldMkLst>
          <pc:docMk/>
          <pc:sldMk cId="3698215426" sldId="312"/>
        </pc:sldMkLst>
      </pc:sldChg>
      <pc:sldChg chg="modSp add mod">
        <pc:chgData name="Muffoletto, Jamie" userId="daf1e3c6-8137-448a-b141-d23049d419b5" providerId="ADAL" clId="{32F44A3F-12BC-437C-AC96-AAB1A2E01894}" dt="2025-07-20T01:57:43.485" v="16971" actId="20577"/>
        <pc:sldMkLst>
          <pc:docMk/>
          <pc:sldMk cId="1424249312" sldId="313"/>
        </pc:sldMkLst>
        <pc:spChg chg="mod">
          <ac:chgData name="Muffoletto, Jamie" userId="daf1e3c6-8137-448a-b141-d23049d419b5" providerId="ADAL" clId="{32F44A3F-12BC-437C-AC96-AAB1A2E01894}" dt="2025-07-19T18:43:42.401" v="13244" actId="20577"/>
          <ac:spMkLst>
            <pc:docMk/>
            <pc:sldMk cId="1424249312" sldId="313"/>
            <ac:spMk id="5" creationId="{902EC910-55ED-45CD-484D-9B47F6D3D48D}"/>
          </ac:spMkLst>
        </pc:spChg>
        <pc:spChg chg="mod">
          <ac:chgData name="Muffoletto, Jamie" userId="daf1e3c6-8137-448a-b141-d23049d419b5" providerId="ADAL" clId="{32F44A3F-12BC-437C-AC96-AAB1A2E01894}" dt="2025-07-20T01:57:43.485" v="16971" actId="20577"/>
          <ac:spMkLst>
            <pc:docMk/>
            <pc:sldMk cId="1424249312" sldId="313"/>
            <ac:spMk id="6" creationId="{8DEDFEBE-11AB-7E71-1414-A16227516AE9}"/>
          </ac:spMkLst>
        </pc:spChg>
      </pc:sldChg>
      <pc:sldChg chg="addSp delSp modSp add del mod">
        <pc:chgData name="Muffoletto, Jamie" userId="daf1e3c6-8137-448a-b141-d23049d419b5" providerId="ADAL" clId="{32F44A3F-12BC-437C-AC96-AAB1A2E01894}" dt="2025-07-19T16:38:04.841" v="12938" actId="2696"/>
        <pc:sldMkLst>
          <pc:docMk/>
          <pc:sldMk cId="2308275112" sldId="313"/>
        </pc:sldMkLst>
      </pc:sldChg>
      <pc:sldChg chg="modSp add del mod">
        <pc:chgData name="Muffoletto, Jamie" userId="daf1e3c6-8137-448a-b141-d23049d419b5" providerId="ADAL" clId="{32F44A3F-12BC-437C-AC96-AAB1A2E01894}" dt="2025-07-19T16:43:53.859" v="12982" actId="2696"/>
        <pc:sldMkLst>
          <pc:docMk/>
          <pc:sldMk cId="3329813593" sldId="313"/>
        </pc:sldMkLst>
      </pc:sldChg>
      <pc:sldChg chg="addSp delSp modSp add mod ord">
        <pc:chgData name="Muffoletto, Jamie" userId="daf1e3c6-8137-448a-b141-d23049d419b5" providerId="ADAL" clId="{32F44A3F-12BC-437C-AC96-AAB1A2E01894}" dt="2025-07-19T16:14:38.888" v="11818" actId="6549"/>
        <pc:sldMkLst>
          <pc:docMk/>
          <pc:sldMk cId="1666334780" sldId="314"/>
        </pc:sldMkLst>
        <pc:spChg chg="mod">
          <ac:chgData name="Muffoletto, Jamie" userId="daf1e3c6-8137-448a-b141-d23049d419b5" providerId="ADAL" clId="{32F44A3F-12BC-437C-AC96-AAB1A2E01894}" dt="2025-07-13T02:06:44.210" v="3854" actId="20577"/>
          <ac:spMkLst>
            <pc:docMk/>
            <pc:sldMk cId="1666334780" sldId="314"/>
            <ac:spMk id="5" creationId="{F96D8FF7-9C2A-E1CF-8302-8833B5E5A68F}"/>
          </ac:spMkLst>
        </pc:spChg>
        <pc:spChg chg="mod">
          <ac:chgData name="Muffoletto, Jamie" userId="daf1e3c6-8137-448a-b141-d23049d419b5" providerId="ADAL" clId="{32F44A3F-12BC-437C-AC96-AAB1A2E01894}" dt="2025-07-19T16:14:38.888" v="11818" actId="6549"/>
          <ac:spMkLst>
            <pc:docMk/>
            <pc:sldMk cId="1666334780" sldId="314"/>
            <ac:spMk id="6" creationId="{BD4F124C-506E-8CBB-FDF6-88E5FDAF3723}"/>
          </ac:spMkLst>
        </pc:spChg>
      </pc:sldChg>
      <pc:sldChg chg="addSp delSp modSp add mod ord">
        <pc:chgData name="Muffoletto, Jamie" userId="daf1e3c6-8137-448a-b141-d23049d419b5" providerId="ADAL" clId="{32F44A3F-12BC-437C-AC96-AAB1A2E01894}" dt="2025-07-20T01:57:55.631" v="16975" actId="20577"/>
        <pc:sldMkLst>
          <pc:docMk/>
          <pc:sldMk cId="3625351715" sldId="315"/>
        </pc:sldMkLst>
      </pc:sldChg>
      <pc:sldChg chg="addSp delSp modSp add mod">
        <pc:chgData name="Muffoletto, Jamie" userId="daf1e3c6-8137-448a-b141-d23049d419b5" providerId="ADAL" clId="{32F44A3F-12BC-437C-AC96-AAB1A2E01894}" dt="2025-07-19T20:08:28.563" v="14144" actId="20577"/>
        <pc:sldMkLst>
          <pc:docMk/>
          <pc:sldMk cId="1251465802" sldId="316"/>
        </pc:sldMkLst>
        <pc:spChg chg="mod">
          <ac:chgData name="Muffoletto, Jamie" userId="daf1e3c6-8137-448a-b141-d23049d419b5" providerId="ADAL" clId="{32F44A3F-12BC-437C-AC96-AAB1A2E01894}" dt="2025-07-13T02:07:57.984" v="3921" actId="20577"/>
          <ac:spMkLst>
            <pc:docMk/>
            <pc:sldMk cId="1251465802" sldId="316"/>
            <ac:spMk id="5" creationId="{248E0932-C5B7-676F-3BDE-5217B68A8819}"/>
          </ac:spMkLst>
        </pc:spChg>
        <pc:spChg chg="mod">
          <ac:chgData name="Muffoletto, Jamie" userId="daf1e3c6-8137-448a-b141-d23049d419b5" providerId="ADAL" clId="{32F44A3F-12BC-437C-AC96-AAB1A2E01894}" dt="2025-07-19T20:08:28.563" v="14144" actId="20577"/>
          <ac:spMkLst>
            <pc:docMk/>
            <pc:sldMk cId="1251465802" sldId="316"/>
            <ac:spMk id="6" creationId="{F2C4EEAC-B774-544E-5992-C8A23D099EB2}"/>
          </ac:spMkLst>
        </pc:spChg>
      </pc:sldChg>
      <pc:sldChg chg="addSp delSp modSp add mod">
        <pc:chgData name="Muffoletto, Jamie" userId="daf1e3c6-8137-448a-b141-d23049d419b5" providerId="ADAL" clId="{32F44A3F-12BC-437C-AC96-AAB1A2E01894}" dt="2025-07-19T23:17:43.663" v="14536" actId="20577"/>
        <pc:sldMkLst>
          <pc:docMk/>
          <pc:sldMk cId="319113151" sldId="317"/>
        </pc:sldMkLst>
        <pc:spChg chg="mod">
          <ac:chgData name="Muffoletto, Jamie" userId="daf1e3c6-8137-448a-b141-d23049d419b5" providerId="ADAL" clId="{32F44A3F-12BC-437C-AC96-AAB1A2E01894}" dt="2025-07-13T02:08:23.861" v="3955" actId="20577"/>
          <ac:spMkLst>
            <pc:docMk/>
            <pc:sldMk cId="319113151" sldId="317"/>
            <ac:spMk id="5" creationId="{3C4B2BDE-9226-B874-CFCD-9D20192ED9BB}"/>
          </ac:spMkLst>
        </pc:spChg>
        <pc:spChg chg="mod">
          <ac:chgData name="Muffoletto, Jamie" userId="daf1e3c6-8137-448a-b141-d23049d419b5" providerId="ADAL" clId="{32F44A3F-12BC-437C-AC96-AAB1A2E01894}" dt="2025-07-19T23:17:43.663" v="14536" actId="20577"/>
          <ac:spMkLst>
            <pc:docMk/>
            <pc:sldMk cId="319113151" sldId="317"/>
            <ac:spMk id="6" creationId="{6B72A0C4-CA79-E863-8842-3F6A627EEA88}"/>
          </ac:spMkLst>
        </pc:spChg>
      </pc:sldChg>
      <pc:sldChg chg="addSp delSp modSp add mod">
        <pc:chgData name="Muffoletto, Jamie" userId="daf1e3c6-8137-448a-b141-d23049d419b5" providerId="ADAL" clId="{32F44A3F-12BC-437C-AC96-AAB1A2E01894}" dt="2025-07-20T02:17:57.031" v="17055" actId="13244"/>
        <pc:sldMkLst>
          <pc:docMk/>
          <pc:sldMk cId="3199652527" sldId="318"/>
        </pc:sldMkLst>
        <pc:spChg chg="add mod">
          <ac:chgData name="Muffoletto, Jamie" userId="daf1e3c6-8137-448a-b141-d23049d419b5" providerId="ADAL" clId="{32F44A3F-12BC-437C-AC96-AAB1A2E01894}" dt="2025-07-20T00:52:12.054" v="15600" actId="1582"/>
          <ac:spMkLst>
            <pc:docMk/>
            <pc:sldMk cId="3199652527" sldId="318"/>
            <ac:spMk id="2" creationId="{46A862BB-357D-0773-B169-A9ED5A15520D}"/>
          </ac:spMkLst>
        </pc:spChg>
        <pc:spChg chg="ord">
          <ac:chgData name="Muffoletto, Jamie" userId="daf1e3c6-8137-448a-b141-d23049d419b5" providerId="ADAL" clId="{32F44A3F-12BC-437C-AC96-AAB1A2E01894}" dt="2025-07-20T02:17:57.031" v="17055" actId="13244"/>
          <ac:spMkLst>
            <pc:docMk/>
            <pc:sldMk cId="3199652527" sldId="318"/>
            <ac:spMk id="4" creationId="{8FBF45BA-91DA-E6E8-016D-DED6E50ED4C2}"/>
          </ac:spMkLst>
        </pc:spChg>
        <pc:spChg chg="mod">
          <ac:chgData name="Muffoletto, Jamie" userId="daf1e3c6-8137-448a-b141-d23049d419b5" providerId="ADAL" clId="{32F44A3F-12BC-437C-AC96-AAB1A2E01894}" dt="2025-07-13T02:09:58.025" v="4007" actId="20577"/>
          <ac:spMkLst>
            <pc:docMk/>
            <pc:sldMk cId="3199652527" sldId="318"/>
            <ac:spMk id="5" creationId="{39987077-BD6F-5940-3D4C-917739B92699}"/>
          </ac:spMkLst>
        </pc:spChg>
        <pc:spChg chg="mod">
          <ac:chgData name="Muffoletto, Jamie" userId="daf1e3c6-8137-448a-b141-d23049d419b5" providerId="ADAL" clId="{32F44A3F-12BC-437C-AC96-AAB1A2E01894}" dt="2025-07-20T02:10:49.091" v="17021" actId="179"/>
          <ac:spMkLst>
            <pc:docMk/>
            <pc:sldMk cId="3199652527" sldId="318"/>
            <ac:spMk id="6" creationId="{6CB6F5F7-D417-6E06-B254-157D104EF9DD}"/>
          </ac:spMkLst>
        </pc:spChg>
      </pc:sldChg>
      <pc:sldChg chg="addSp delSp modSp add mod">
        <pc:chgData name="Muffoletto, Jamie" userId="daf1e3c6-8137-448a-b141-d23049d419b5" providerId="ADAL" clId="{32F44A3F-12BC-437C-AC96-AAB1A2E01894}" dt="2025-07-20T02:18:23.508" v="17056" actId="13244"/>
        <pc:sldMkLst>
          <pc:docMk/>
          <pc:sldMk cId="3866467728" sldId="319"/>
        </pc:sldMkLst>
        <pc:spChg chg="add mod">
          <ac:chgData name="Muffoletto, Jamie" userId="daf1e3c6-8137-448a-b141-d23049d419b5" providerId="ADAL" clId="{32F44A3F-12BC-437C-AC96-AAB1A2E01894}" dt="2025-07-20T00:52:56.300" v="15603" actId="1582"/>
          <ac:spMkLst>
            <pc:docMk/>
            <pc:sldMk cId="3866467728" sldId="319"/>
            <ac:spMk id="2" creationId="{6E9D4E72-AD47-C9CA-E986-204801FA8D92}"/>
          </ac:spMkLst>
        </pc:spChg>
        <pc:spChg chg="ord">
          <ac:chgData name="Muffoletto, Jamie" userId="daf1e3c6-8137-448a-b141-d23049d419b5" providerId="ADAL" clId="{32F44A3F-12BC-437C-AC96-AAB1A2E01894}" dt="2025-07-20T02:18:23.508" v="17056" actId="13244"/>
          <ac:spMkLst>
            <pc:docMk/>
            <pc:sldMk cId="3866467728" sldId="319"/>
            <ac:spMk id="4" creationId="{579305BA-6111-71BA-6CF8-1B5B1200B88A}"/>
          </ac:spMkLst>
        </pc:spChg>
        <pc:spChg chg="mod">
          <ac:chgData name="Muffoletto, Jamie" userId="daf1e3c6-8137-448a-b141-d23049d419b5" providerId="ADAL" clId="{32F44A3F-12BC-437C-AC96-AAB1A2E01894}" dt="2025-07-13T02:10:24.178" v="4058" actId="20577"/>
          <ac:spMkLst>
            <pc:docMk/>
            <pc:sldMk cId="3866467728" sldId="319"/>
            <ac:spMk id="5" creationId="{B837162E-98EE-88D8-9307-7A9299543D3A}"/>
          </ac:spMkLst>
        </pc:spChg>
        <pc:spChg chg="mod">
          <ac:chgData name="Muffoletto, Jamie" userId="daf1e3c6-8137-448a-b141-d23049d419b5" providerId="ADAL" clId="{32F44A3F-12BC-437C-AC96-AAB1A2E01894}" dt="2025-07-20T01:31:47.371" v="16340" actId="20577"/>
          <ac:spMkLst>
            <pc:docMk/>
            <pc:sldMk cId="3866467728" sldId="319"/>
            <ac:spMk id="6" creationId="{5A88B385-5767-C8F8-BFE8-A1B7F290C46C}"/>
          </ac:spMkLst>
        </pc:spChg>
      </pc:sldChg>
      <pc:sldChg chg="addSp delSp modSp add mod">
        <pc:chgData name="Muffoletto, Jamie" userId="daf1e3c6-8137-448a-b141-d23049d419b5" providerId="ADAL" clId="{32F44A3F-12BC-437C-AC96-AAB1A2E01894}" dt="2025-07-20T02:18:50.954" v="17057" actId="13244"/>
        <pc:sldMkLst>
          <pc:docMk/>
          <pc:sldMk cId="2084627924" sldId="320"/>
        </pc:sldMkLst>
        <pc:spChg chg="add mod">
          <ac:chgData name="Muffoletto, Jamie" userId="daf1e3c6-8137-448a-b141-d23049d419b5" providerId="ADAL" clId="{32F44A3F-12BC-437C-AC96-AAB1A2E01894}" dt="2025-07-20T01:36:11.841" v="16364" actId="1076"/>
          <ac:spMkLst>
            <pc:docMk/>
            <pc:sldMk cId="2084627924" sldId="320"/>
            <ac:spMk id="2" creationId="{412F3300-2E8E-B0C6-467C-921682AEE8A1}"/>
          </ac:spMkLst>
        </pc:spChg>
        <pc:spChg chg="ord">
          <ac:chgData name="Muffoletto, Jamie" userId="daf1e3c6-8137-448a-b141-d23049d419b5" providerId="ADAL" clId="{32F44A3F-12BC-437C-AC96-AAB1A2E01894}" dt="2025-07-20T02:18:50.954" v="17057" actId="13244"/>
          <ac:spMkLst>
            <pc:docMk/>
            <pc:sldMk cId="2084627924" sldId="320"/>
            <ac:spMk id="4" creationId="{8FA025F8-E1CD-DA35-DF89-BDA263BCB035}"/>
          </ac:spMkLst>
        </pc:spChg>
        <pc:spChg chg="mod">
          <ac:chgData name="Muffoletto, Jamie" userId="daf1e3c6-8137-448a-b141-d23049d419b5" providerId="ADAL" clId="{32F44A3F-12BC-437C-AC96-AAB1A2E01894}" dt="2025-07-13T02:10:38.719" v="4080" actId="20577"/>
          <ac:spMkLst>
            <pc:docMk/>
            <pc:sldMk cId="2084627924" sldId="320"/>
            <ac:spMk id="5" creationId="{F10A67EE-92BF-9C59-B22F-5C6C9D654663}"/>
          </ac:spMkLst>
        </pc:spChg>
        <pc:spChg chg="mod">
          <ac:chgData name="Muffoletto, Jamie" userId="daf1e3c6-8137-448a-b141-d23049d419b5" providerId="ADAL" clId="{32F44A3F-12BC-437C-AC96-AAB1A2E01894}" dt="2025-07-20T01:35:33.455" v="16362" actId="20577"/>
          <ac:spMkLst>
            <pc:docMk/>
            <pc:sldMk cId="2084627924" sldId="320"/>
            <ac:spMk id="6" creationId="{A6B9CD36-8193-C52C-78B5-B517EE0FCABC}"/>
          </ac:spMkLst>
        </pc:spChg>
      </pc:sldChg>
      <pc:sldChg chg="addSp delSp modSp add mod">
        <pc:chgData name="Muffoletto, Jamie" userId="daf1e3c6-8137-448a-b141-d23049d419b5" providerId="ADAL" clId="{32F44A3F-12BC-437C-AC96-AAB1A2E01894}" dt="2025-07-20T02:19:01.951" v="17059" actId="14100"/>
        <pc:sldMkLst>
          <pc:docMk/>
          <pc:sldMk cId="614724895" sldId="321"/>
        </pc:sldMkLst>
        <pc:spChg chg="add mod">
          <ac:chgData name="Muffoletto, Jamie" userId="daf1e3c6-8137-448a-b141-d23049d419b5" providerId="ADAL" clId="{32F44A3F-12BC-437C-AC96-AAB1A2E01894}" dt="2025-07-20T01:26:23.039" v="16319" actId="20577"/>
          <ac:spMkLst>
            <pc:docMk/>
            <pc:sldMk cId="614724895" sldId="321"/>
            <ac:spMk id="2" creationId="{365409AA-F68A-4301-6859-4BAB9157A8F6}"/>
          </ac:spMkLst>
        </pc:spChg>
        <pc:spChg chg="ord">
          <ac:chgData name="Muffoletto, Jamie" userId="daf1e3c6-8137-448a-b141-d23049d419b5" providerId="ADAL" clId="{32F44A3F-12BC-437C-AC96-AAB1A2E01894}" dt="2025-07-20T02:18:56.336" v="17058" actId="13244"/>
          <ac:spMkLst>
            <pc:docMk/>
            <pc:sldMk cId="614724895" sldId="321"/>
            <ac:spMk id="4" creationId="{036BF354-D473-B9C6-808D-E4B82BE6D669}"/>
          </ac:spMkLst>
        </pc:spChg>
        <pc:spChg chg="mod">
          <ac:chgData name="Muffoletto, Jamie" userId="daf1e3c6-8137-448a-b141-d23049d419b5" providerId="ADAL" clId="{32F44A3F-12BC-437C-AC96-AAB1A2E01894}" dt="2025-07-13T02:11:01.903" v="4102" actId="20577"/>
          <ac:spMkLst>
            <pc:docMk/>
            <pc:sldMk cId="614724895" sldId="321"/>
            <ac:spMk id="5" creationId="{73AAC17C-F95F-E355-5D36-F80706B14F01}"/>
          </ac:spMkLst>
        </pc:spChg>
        <pc:spChg chg="mod">
          <ac:chgData name="Muffoletto, Jamie" userId="daf1e3c6-8137-448a-b141-d23049d419b5" providerId="ADAL" clId="{32F44A3F-12BC-437C-AC96-AAB1A2E01894}" dt="2025-07-20T02:19:01.951" v="17059" actId="14100"/>
          <ac:spMkLst>
            <pc:docMk/>
            <pc:sldMk cId="614724895" sldId="321"/>
            <ac:spMk id="6" creationId="{2DD62FAE-E8AC-8CB2-98C3-C84E9BB94696}"/>
          </ac:spMkLst>
        </pc:spChg>
      </pc:sldChg>
      <pc:sldChg chg="addSp delSp modSp add mod">
        <pc:chgData name="Muffoletto, Jamie" userId="daf1e3c6-8137-448a-b141-d23049d419b5" providerId="ADAL" clId="{32F44A3F-12BC-437C-AC96-AAB1A2E01894}" dt="2025-07-20T02:19:20.149" v="17060" actId="13244"/>
        <pc:sldMkLst>
          <pc:docMk/>
          <pc:sldMk cId="146296771" sldId="322"/>
        </pc:sldMkLst>
        <pc:spChg chg="add mod">
          <ac:chgData name="Muffoletto, Jamie" userId="daf1e3c6-8137-448a-b141-d23049d419b5" providerId="ADAL" clId="{32F44A3F-12BC-437C-AC96-AAB1A2E01894}" dt="2025-07-20T01:38:26.426" v="16441" actId="20577"/>
          <ac:spMkLst>
            <pc:docMk/>
            <pc:sldMk cId="146296771" sldId="322"/>
            <ac:spMk id="2" creationId="{7AF7BB46-0C87-3419-7460-029E31796D61}"/>
          </ac:spMkLst>
        </pc:spChg>
        <pc:spChg chg="ord">
          <ac:chgData name="Muffoletto, Jamie" userId="daf1e3c6-8137-448a-b141-d23049d419b5" providerId="ADAL" clId="{32F44A3F-12BC-437C-AC96-AAB1A2E01894}" dt="2025-07-20T02:19:20.149" v="17060" actId="13244"/>
          <ac:spMkLst>
            <pc:docMk/>
            <pc:sldMk cId="146296771" sldId="322"/>
            <ac:spMk id="4" creationId="{0EFC0008-DD0E-0324-7F52-DC7AC76D00C1}"/>
          </ac:spMkLst>
        </pc:spChg>
        <pc:spChg chg="mod">
          <ac:chgData name="Muffoletto, Jamie" userId="daf1e3c6-8137-448a-b141-d23049d419b5" providerId="ADAL" clId="{32F44A3F-12BC-437C-AC96-AAB1A2E01894}" dt="2025-07-13T02:11:18.563" v="4124" actId="20577"/>
          <ac:spMkLst>
            <pc:docMk/>
            <pc:sldMk cId="146296771" sldId="322"/>
            <ac:spMk id="5" creationId="{568EC51A-D106-037F-772B-36B6E24FBAEA}"/>
          </ac:spMkLst>
        </pc:spChg>
        <pc:spChg chg="mod">
          <ac:chgData name="Muffoletto, Jamie" userId="daf1e3c6-8137-448a-b141-d23049d419b5" providerId="ADAL" clId="{32F44A3F-12BC-437C-AC96-AAB1A2E01894}" dt="2025-07-20T01:38:07.231" v="16403" actId="20577"/>
          <ac:spMkLst>
            <pc:docMk/>
            <pc:sldMk cId="146296771" sldId="322"/>
            <ac:spMk id="6" creationId="{90F5CD76-A7DC-A623-2367-B1FF3F3C8340}"/>
          </ac:spMkLst>
        </pc:spChg>
      </pc:sldChg>
      <pc:sldChg chg="addSp delSp modSp add mod">
        <pc:chgData name="Muffoletto, Jamie" userId="daf1e3c6-8137-448a-b141-d23049d419b5" providerId="ADAL" clId="{32F44A3F-12BC-437C-AC96-AAB1A2E01894}" dt="2025-07-20T02:20:18.958" v="17065" actId="13244"/>
        <pc:sldMkLst>
          <pc:docMk/>
          <pc:sldMk cId="728663824" sldId="323"/>
        </pc:sldMkLst>
        <pc:spChg chg="add mod">
          <ac:chgData name="Muffoletto, Jamie" userId="daf1e3c6-8137-448a-b141-d23049d419b5" providerId="ADAL" clId="{32F44A3F-12BC-437C-AC96-AAB1A2E01894}" dt="2025-07-20T01:19:02.537" v="16203" actId="20577"/>
          <ac:spMkLst>
            <pc:docMk/>
            <pc:sldMk cId="728663824" sldId="323"/>
            <ac:spMk id="2" creationId="{821332DE-C74A-92D7-71A6-05DDC015B48D}"/>
          </ac:spMkLst>
        </pc:spChg>
        <pc:spChg chg="ord">
          <ac:chgData name="Muffoletto, Jamie" userId="daf1e3c6-8137-448a-b141-d23049d419b5" providerId="ADAL" clId="{32F44A3F-12BC-437C-AC96-AAB1A2E01894}" dt="2025-07-20T02:20:18.958" v="17065" actId="13244"/>
          <ac:spMkLst>
            <pc:docMk/>
            <pc:sldMk cId="728663824" sldId="323"/>
            <ac:spMk id="4" creationId="{0CF4F07A-82C0-743F-5A68-98B3E148AC9F}"/>
          </ac:spMkLst>
        </pc:spChg>
        <pc:spChg chg="mod">
          <ac:chgData name="Muffoletto, Jamie" userId="daf1e3c6-8137-448a-b141-d23049d419b5" providerId="ADAL" clId="{32F44A3F-12BC-437C-AC96-AAB1A2E01894}" dt="2025-07-19T16:50:26.913" v="13001" actId="20577"/>
          <ac:spMkLst>
            <pc:docMk/>
            <pc:sldMk cId="728663824" sldId="323"/>
            <ac:spMk id="5" creationId="{9A312067-0F35-73AA-396C-0247F834D1AF}"/>
          </ac:spMkLst>
        </pc:spChg>
        <pc:spChg chg="mod">
          <ac:chgData name="Muffoletto, Jamie" userId="daf1e3c6-8137-448a-b141-d23049d419b5" providerId="ADAL" clId="{32F44A3F-12BC-437C-AC96-AAB1A2E01894}" dt="2025-07-20T02:07:34.554" v="17008" actId="12"/>
          <ac:spMkLst>
            <pc:docMk/>
            <pc:sldMk cId="728663824" sldId="323"/>
            <ac:spMk id="6" creationId="{3B3621CA-A22F-3911-6700-219E78ADFA5D}"/>
          </ac:spMkLst>
        </pc:spChg>
      </pc:sldChg>
      <pc:sldChg chg="addSp modSp add mod">
        <pc:chgData name="Muffoletto, Jamie" userId="daf1e3c6-8137-448a-b141-d23049d419b5" providerId="ADAL" clId="{32F44A3F-12BC-437C-AC96-AAB1A2E01894}" dt="2025-07-20T02:19:27.006" v="17061" actId="13244"/>
        <pc:sldMkLst>
          <pc:docMk/>
          <pc:sldMk cId="281050586" sldId="324"/>
        </pc:sldMkLst>
        <pc:spChg chg="add mod">
          <ac:chgData name="Muffoletto, Jamie" userId="daf1e3c6-8137-448a-b141-d23049d419b5" providerId="ADAL" clId="{32F44A3F-12BC-437C-AC96-AAB1A2E01894}" dt="2025-07-20T01:42:00.990" v="16609" actId="20577"/>
          <ac:spMkLst>
            <pc:docMk/>
            <pc:sldMk cId="281050586" sldId="324"/>
            <ac:spMk id="2" creationId="{61D3222A-9878-F2CD-A1F0-DE2B4F518112}"/>
          </ac:spMkLst>
        </pc:spChg>
        <pc:spChg chg="ord">
          <ac:chgData name="Muffoletto, Jamie" userId="daf1e3c6-8137-448a-b141-d23049d419b5" providerId="ADAL" clId="{32F44A3F-12BC-437C-AC96-AAB1A2E01894}" dt="2025-07-20T02:19:27.006" v="17061" actId="13244"/>
          <ac:spMkLst>
            <pc:docMk/>
            <pc:sldMk cId="281050586" sldId="324"/>
            <ac:spMk id="4" creationId="{16E3EDF5-6A21-52CB-E556-750293EA834A}"/>
          </ac:spMkLst>
        </pc:spChg>
        <pc:spChg chg="mod">
          <ac:chgData name="Muffoletto, Jamie" userId="daf1e3c6-8137-448a-b141-d23049d419b5" providerId="ADAL" clId="{32F44A3F-12BC-437C-AC96-AAB1A2E01894}" dt="2025-07-20T02:10:26.003" v="17020" actId="179"/>
          <ac:spMkLst>
            <pc:docMk/>
            <pc:sldMk cId="281050586" sldId="324"/>
            <ac:spMk id="6" creationId="{C9A95BAB-613E-1CC5-DBC8-E93CB9E53B70}"/>
          </ac:spMkLst>
        </pc:spChg>
      </pc:sldChg>
      <pc:sldChg chg="addSp delSp modSp add del mod">
        <pc:chgData name="Muffoletto, Jamie" userId="daf1e3c6-8137-448a-b141-d23049d419b5" providerId="ADAL" clId="{32F44A3F-12BC-437C-AC96-AAB1A2E01894}" dt="2025-07-19T16:53:34.773" v="13024" actId="2696"/>
        <pc:sldMkLst>
          <pc:docMk/>
          <pc:sldMk cId="1983761013" sldId="324"/>
        </pc:sldMkLst>
      </pc:sldChg>
      <pc:sldChg chg="add del">
        <pc:chgData name="Muffoletto, Jamie" userId="daf1e3c6-8137-448a-b141-d23049d419b5" providerId="ADAL" clId="{32F44A3F-12BC-437C-AC96-AAB1A2E01894}" dt="2025-07-19T16:53:57.392" v="13026" actId="2696"/>
        <pc:sldMkLst>
          <pc:docMk/>
          <pc:sldMk cId="4196446237" sldId="324"/>
        </pc:sldMkLst>
      </pc:sldChg>
      <pc:sldChg chg="addSp modSp add mod">
        <pc:chgData name="Muffoletto, Jamie" userId="daf1e3c6-8137-448a-b141-d23049d419b5" providerId="ADAL" clId="{32F44A3F-12BC-437C-AC96-AAB1A2E01894}" dt="2025-07-20T02:19:36.347" v="17062" actId="13244"/>
        <pc:sldMkLst>
          <pc:docMk/>
          <pc:sldMk cId="155692343" sldId="325"/>
        </pc:sldMkLst>
        <pc:spChg chg="add mod">
          <ac:chgData name="Muffoletto, Jamie" userId="daf1e3c6-8137-448a-b141-d23049d419b5" providerId="ADAL" clId="{32F44A3F-12BC-437C-AC96-AAB1A2E01894}" dt="2025-07-20T02:09:29.042" v="17018" actId="1076"/>
          <ac:spMkLst>
            <pc:docMk/>
            <pc:sldMk cId="155692343" sldId="325"/>
            <ac:spMk id="2" creationId="{70AB443D-E2DB-CBC2-B821-0CB605EFF79D}"/>
          </ac:spMkLst>
        </pc:spChg>
        <pc:spChg chg="ord">
          <ac:chgData name="Muffoletto, Jamie" userId="daf1e3c6-8137-448a-b141-d23049d419b5" providerId="ADAL" clId="{32F44A3F-12BC-437C-AC96-AAB1A2E01894}" dt="2025-07-20T02:19:36.347" v="17062" actId="13244"/>
          <ac:spMkLst>
            <pc:docMk/>
            <pc:sldMk cId="155692343" sldId="325"/>
            <ac:spMk id="4" creationId="{0DE39CB5-9537-7BD4-0405-1604B334E4DF}"/>
          </ac:spMkLst>
        </pc:spChg>
        <pc:spChg chg="mod">
          <ac:chgData name="Muffoletto, Jamie" userId="daf1e3c6-8137-448a-b141-d23049d419b5" providerId="ADAL" clId="{32F44A3F-12BC-437C-AC96-AAB1A2E01894}" dt="2025-07-20T02:09:24.661" v="17017" actId="403"/>
          <ac:spMkLst>
            <pc:docMk/>
            <pc:sldMk cId="155692343" sldId="325"/>
            <ac:spMk id="6" creationId="{7D6E8006-DFD0-20F6-2845-24B08EF5C392}"/>
          </ac:spMkLst>
        </pc:spChg>
      </pc:sldChg>
      <pc:sldChg chg="addSp delSp modSp add del mod">
        <pc:chgData name="Muffoletto, Jamie" userId="daf1e3c6-8137-448a-b141-d23049d419b5" providerId="ADAL" clId="{32F44A3F-12BC-437C-AC96-AAB1A2E01894}" dt="2025-07-19T16:53:34.773" v="13024" actId="2696"/>
        <pc:sldMkLst>
          <pc:docMk/>
          <pc:sldMk cId="2707284886" sldId="325"/>
        </pc:sldMkLst>
      </pc:sldChg>
      <pc:sldChg chg="add del">
        <pc:chgData name="Muffoletto, Jamie" userId="daf1e3c6-8137-448a-b141-d23049d419b5" providerId="ADAL" clId="{32F44A3F-12BC-437C-AC96-AAB1A2E01894}" dt="2025-07-19T16:53:57.392" v="13026" actId="2696"/>
        <pc:sldMkLst>
          <pc:docMk/>
          <pc:sldMk cId="4089627352" sldId="325"/>
        </pc:sldMkLst>
      </pc:sldChg>
      <pc:sldChg chg="addSp modSp add mod">
        <pc:chgData name="Muffoletto, Jamie" userId="daf1e3c6-8137-448a-b141-d23049d419b5" providerId="ADAL" clId="{32F44A3F-12BC-437C-AC96-AAB1A2E01894}" dt="2025-07-20T02:19:41.347" v="17063" actId="13244"/>
        <pc:sldMkLst>
          <pc:docMk/>
          <pc:sldMk cId="1724220764" sldId="326"/>
        </pc:sldMkLst>
        <pc:spChg chg="add mod">
          <ac:chgData name="Muffoletto, Jamie" userId="daf1e3c6-8137-448a-b141-d23049d419b5" providerId="ADAL" clId="{32F44A3F-12BC-437C-AC96-AAB1A2E01894}" dt="2025-07-20T01:48:31.015" v="16859" actId="20577"/>
          <ac:spMkLst>
            <pc:docMk/>
            <pc:sldMk cId="1724220764" sldId="326"/>
            <ac:spMk id="2" creationId="{9ED90D35-81A6-F97B-4338-6E6867D0B1CA}"/>
          </ac:spMkLst>
        </pc:spChg>
        <pc:spChg chg="ord">
          <ac:chgData name="Muffoletto, Jamie" userId="daf1e3c6-8137-448a-b141-d23049d419b5" providerId="ADAL" clId="{32F44A3F-12BC-437C-AC96-AAB1A2E01894}" dt="2025-07-20T02:19:41.347" v="17063" actId="13244"/>
          <ac:spMkLst>
            <pc:docMk/>
            <pc:sldMk cId="1724220764" sldId="326"/>
            <ac:spMk id="4" creationId="{011A6136-D4F9-C452-0F14-4FCABF3E3F88}"/>
          </ac:spMkLst>
        </pc:spChg>
        <pc:spChg chg="mod">
          <ac:chgData name="Muffoletto, Jamie" userId="daf1e3c6-8137-448a-b141-d23049d419b5" providerId="ADAL" clId="{32F44A3F-12BC-437C-AC96-AAB1A2E01894}" dt="2025-07-20T02:09:08.386" v="17016" actId="12"/>
          <ac:spMkLst>
            <pc:docMk/>
            <pc:sldMk cId="1724220764" sldId="326"/>
            <ac:spMk id="6" creationId="{E7FC2AE3-DF3B-AE58-2363-E859D924349F}"/>
          </ac:spMkLst>
        </pc:spChg>
      </pc:sldChg>
      <pc:sldChg chg="add del">
        <pc:chgData name="Muffoletto, Jamie" userId="daf1e3c6-8137-448a-b141-d23049d419b5" providerId="ADAL" clId="{32F44A3F-12BC-437C-AC96-AAB1A2E01894}" dt="2025-07-19T16:53:57.392" v="13026" actId="2696"/>
        <pc:sldMkLst>
          <pc:docMk/>
          <pc:sldMk cId="3628479839" sldId="326"/>
        </pc:sldMkLst>
      </pc:sldChg>
      <pc:sldChg chg="addSp delSp modSp add del mod">
        <pc:chgData name="Muffoletto, Jamie" userId="daf1e3c6-8137-448a-b141-d23049d419b5" providerId="ADAL" clId="{32F44A3F-12BC-437C-AC96-AAB1A2E01894}" dt="2025-07-19T16:53:34.773" v="13024" actId="2696"/>
        <pc:sldMkLst>
          <pc:docMk/>
          <pc:sldMk cId="4121727835" sldId="326"/>
        </pc:sldMkLst>
      </pc:sldChg>
      <pc:sldChg chg="addSp modSp add mod">
        <pc:chgData name="Muffoletto, Jamie" userId="daf1e3c6-8137-448a-b141-d23049d419b5" providerId="ADAL" clId="{32F44A3F-12BC-437C-AC96-AAB1A2E01894}" dt="2025-07-20T02:20:08.135" v="17064" actId="13244"/>
        <pc:sldMkLst>
          <pc:docMk/>
          <pc:sldMk cId="1389815496" sldId="327"/>
        </pc:sldMkLst>
        <pc:spChg chg="add mod">
          <ac:chgData name="Muffoletto, Jamie" userId="daf1e3c6-8137-448a-b141-d23049d419b5" providerId="ADAL" clId="{32F44A3F-12BC-437C-AC96-AAB1A2E01894}" dt="2025-07-20T01:49:37.686" v="16937" actId="20577"/>
          <ac:spMkLst>
            <pc:docMk/>
            <pc:sldMk cId="1389815496" sldId="327"/>
            <ac:spMk id="2" creationId="{B6180068-8151-AB5D-08AB-C7D23F6A184F}"/>
          </ac:spMkLst>
        </pc:spChg>
        <pc:spChg chg="ord">
          <ac:chgData name="Muffoletto, Jamie" userId="daf1e3c6-8137-448a-b141-d23049d419b5" providerId="ADAL" clId="{32F44A3F-12BC-437C-AC96-AAB1A2E01894}" dt="2025-07-20T02:20:08.135" v="17064" actId="13244"/>
          <ac:spMkLst>
            <pc:docMk/>
            <pc:sldMk cId="1389815496" sldId="327"/>
            <ac:spMk id="4" creationId="{5D7595EB-64EC-4A17-C1AC-117D94ABEE15}"/>
          </ac:spMkLst>
        </pc:spChg>
        <pc:spChg chg="mod">
          <ac:chgData name="Muffoletto, Jamie" userId="daf1e3c6-8137-448a-b141-d23049d419b5" providerId="ADAL" clId="{32F44A3F-12BC-437C-AC96-AAB1A2E01894}" dt="2025-07-20T02:10:10.970" v="17019" actId="179"/>
          <ac:spMkLst>
            <pc:docMk/>
            <pc:sldMk cId="1389815496" sldId="327"/>
            <ac:spMk id="6" creationId="{DB01036A-F789-D1A0-5232-2A6793282EE9}"/>
          </ac:spMkLst>
        </pc:spChg>
      </pc:sldChg>
      <pc:sldChg chg="add del">
        <pc:chgData name="Muffoletto, Jamie" userId="daf1e3c6-8137-448a-b141-d23049d419b5" providerId="ADAL" clId="{32F44A3F-12BC-437C-AC96-AAB1A2E01894}" dt="2025-07-19T16:53:57.392" v="13026" actId="2696"/>
        <pc:sldMkLst>
          <pc:docMk/>
          <pc:sldMk cId="2246151893" sldId="327"/>
        </pc:sldMkLst>
      </pc:sldChg>
      <pc:sldChg chg="addSp delSp modSp add del mod">
        <pc:chgData name="Muffoletto, Jamie" userId="daf1e3c6-8137-448a-b141-d23049d419b5" providerId="ADAL" clId="{32F44A3F-12BC-437C-AC96-AAB1A2E01894}" dt="2025-07-19T16:53:34.773" v="13024" actId="2696"/>
        <pc:sldMkLst>
          <pc:docMk/>
          <pc:sldMk cId="3340282835" sldId="327"/>
        </pc:sldMkLst>
      </pc:sldChg>
      <pc:sldChg chg="addSp delSp modSp add mod">
        <pc:chgData name="Muffoletto, Jamie" userId="daf1e3c6-8137-448a-b141-d23049d419b5" providerId="ADAL" clId="{32F44A3F-12BC-437C-AC96-AAB1A2E01894}" dt="2025-07-20T02:20:39.549" v="17067" actId="13244"/>
        <pc:sldMkLst>
          <pc:docMk/>
          <pc:sldMk cId="1142516483" sldId="328"/>
        </pc:sldMkLst>
        <pc:spChg chg="add mod">
          <ac:chgData name="Muffoletto, Jamie" userId="daf1e3c6-8137-448a-b141-d23049d419b5" providerId="ADAL" clId="{32F44A3F-12BC-437C-AC96-AAB1A2E01894}" dt="2025-07-20T01:05:04.397" v="15857" actId="20577"/>
          <ac:spMkLst>
            <pc:docMk/>
            <pc:sldMk cId="1142516483" sldId="328"/>
            <ac:spMk id="2" creationId="{5DE95F13-CB33-36E3-2195-9B411A4A8A9F}"/>
          </ac:spMkLst>
        </pc:spChg>
        <pc:spChg chg="ord">
          <ac:chgData name="Muffoletto, Jamie" userId="daf1e3c6-8137-448a-b141-d23049d419b5" providerId="ADAL" clId="{32F44A3F-12BC-437C-AC96-AAB1A2E01894}" dt="2025-07-20T02:20:39.549" v="17067" actId="13244"/>
          <ac:spMkLst>
            <pc:docMk/>
            <pc:sldMk cId="1142516483" sldId="328"/>
            <ac:spMk id="4" creationId="{0BB4DF72-739B-3EDD-8DBD-38E18F66C8AF}"/>
          </ac:spMkLst>
        </pc:spChg>
        <pc:spChg chg="mod">
          <ac:chgData name="Muffoletto, Jamie" userId="daf1e3c6-8137-448a-b141-d23049d419b5" providerId="ADAL" clId="{32F44A3F-12BC-437C-AC96-AAB1A2E01894}" dt="2025-07-13T02:21:51.983" v="4434" actId="20577"/>
          <ac:spMkLst>
            <pc:docMk/>
            <pc:sldMk cId="1142516483" sldId="328"/>
            <ac:spMk id="5" creationId="{6DBEDCE6-A0EA-312C-F8E4-2C6C9CBE90E0}"/>
          </ac:spMkLst>
        </pc:spChg>
        <pc:spChg chg="mod">
          <ac:chgData name="Muffoletto, Jamie" userId="daf1e3c6-8137-448a-b141-d23049d419b5" providerId="ADAL" clId="{32F44A3F-12BC-437C-AC96-AAB1A2E01894}" dt="2025-07-20T01:59:47.577" v="16984" actId="20577"/>
          <ac:spMkLst>
            <pc:docMk/>
            <pc:sldMk cId="1142516483" sldId="328"/>
            <ac:spMk id="6" creationId="{C2DA33ED-9A15-D567-35DA-C488ED9F6838}"/>
          </ac:spMkLst>
        </pc:spChg>
      </pc:sldChg>
      <pc:sldChg chg="modSp add mod">
        <pc:chgData name="Muffoletto, Jamie" userId="daf1e3c6-8137-448a-b141-d23049d419b5" providerId="ADAL" clId="{32F44A3F-12BC-437C-AC96-AAB1A2E01894}" dt="2025-07-20T01:28:08.558" v="16324" actId="403"/>
        <pc:sldMkLst>
          <pc:docMk/>
          <pc:sldMk cId="13793301" sldId="329"/>
        </pc:sldMkLst>
      </pc:sldChg>
      <pc:sldChg chg="addSp delSp modSp add del mod">
        <pc:chgData name="Muffoletto, Jamie" userId="daf1e3c6-8137-448a-b141-d23049d419b5" providerId="ADAL" clId="{32F44A3F-12BC-437C-AC96-AAB1A2E01894}" dt="2025-07-13T02:22:26.564" v="4491" actId="47"/>
        <pc:sldMkLst>
          <pc:docMk/>
          <pc:sldMk cId="1289202816" sldId="329"/>
        </pc:sldMkLst>
      </pc:sldChg>
      <pc:sldChg chg="modSp add del mod ord">
        <pc:chgData name="Muffoletto, Jamie" userId="daf1e3c6-8137-448a-b141-d23049d419b5" providerId="ADAL" clId="{32F44A3F-12BC-437C-AC96-AAB1A2E01894}" dt="2025-07-20T00:31:29.593" v="15166" actId="47"/>
        <pc:sldMkLst>
          <pc:docMk/>
          <pc:sldMk cId="95318128" sldId="330"/>
        </pc:sldMkLst>
      </pc:sldChg>
      <pc:sldChg chg="addSp modSp add mod">
        <pc:chgData name="Muffoletto, Jamie" userId="daf1e3c6-8137-448a-b141-d23049d419b5" providerId="ADAL" clId="{32F44A3F-12BC-437C-AC96-AAB1A2E01894}" dt="2025-07-19T19:48:45.857" v="13872" actId="6549"/>
        <pc:sldMkLst>
          <pc:docMk/>
          <pc:sldMk cId="2054112054" sldId="331"/>
        </pc:sldMkLst>
        <pc:spChg chg="add mod">
          <ac:chgData name="Muffoletto, Jamie" userId="daf1e3c6-8137-448a-b141-d23049d419b5" providerId="ADAL" clId="{32F44A3F-12BC-437C-AC96-AAB1A2E01894}" dt="2025-07-19T15:23:08.234" v="7554" actId="1076"/>
          <ac:spMkLst>
            <pc:docMk/>
            <pc:sldMk cId="2054112054" sldId="331"/>
            <ac:spMk id="3" creationId="{5340F53E-26B4-989D-D3C1-A416E3EE6B17}"/>
          </ac:spMkLst>
        </pc:spChg>
        <pc:spChg chg="ord">
          <ac:chgData name="Muffoletto, Jamie" userId="daf1e3c6-8137-448a-b141-d23049d419b5" providerId="ADAL" clId="{32F44A3F-12BC-437C-AC96-AAB1A2E01894}" dt="2025-07-19T15:27:30.504" v="7737" actId="13244"/>
          <ac:spMkLst>
            <pc:docMk/>
            <pc:sldMk cId="2054112054" sldId="331"/>
            <ac:spMk id="4" creationId="{5BBA5615-AA73-BA69-76EA-D842915B458F}"/>
          </ac:spMkLst>
        </pc:spChg>
        <pc:spChg chg="mod">
          <ac:chgData name="Muffoletto, Jamie" userId="daf1e3c6-8137-448a-b141-d23049d419b5" providerId="ADAL" clId="{32F44A3F-12BC-437C-AC96-AAB1A2E01894}" dt="2025-07-18T21:40:58.981" v="5819" actId="20577"/>
          <ac:spMkLst>
            <pc:docMk/>
            <pc:sldMk cId="2054112054" sldId="331"/>
            <ac:spMk id="5" creationId="{23734FB2-2763-E988-34FC-7EC450D802CE}"/>
          </ac:spMkLst>
        </pc:spChg>
        <pc:spChg chg="mod">
          <ac:chgData name="Muffoletto, Jamie" userId="daf1e3c6-8137-448a-b141-d23049d419b5" providerId="ADAL" clId="{32F44A3F-12BC-437C-AC96-AAB1A2E01894}" dt="2025-07-19T19:48:45.857" v="13872" actId="6549"/>
          <ac:spMkLst>
            <pc:docMk/>
            <pc:sldMk cId="2054112054" sldId="331"/>
            <ac:spMk id="6" creationId="{A92376EF-DE3C-87A4-E3D7-82123679DF6F}"/>
          </ac:spMkLst>
        </pc:spChg>
      </pc:sldChg>
      <pc:sldChg chg="addSp modSp add mod">
        <pc:chgData name="Muffoletto, Jamie" userId="daf1e3c6-8137-448a-b141-d23049d419b5" providerId="ADAL" clId="{32F44A3F-12BC-437C-AC96-AAB1A2E01894}" dt="2025-07-19T23:24:52.768" v="14600" actId="20577"/>
        <pc:sldMkLst>
          <pc:docMk/>
          <pc:sldMk cId="4140108704" sldId="332"/>
        </pc:sldMkLst>
        <pc:spChg chg="add mod">
          <ac:chgData name="Muffoletto, Jamie" userId="daf1e3c6-8137-448a-b141-d23049d419b5" providerId="ADAL" clId="{32F44A3F-12BC-437C-AC96-AAB1A2E01894}" dt="2025-07-19T15:24:34.253" v="7646" actId="20577"/>
          <ac:spMkLst>
            <pc:docMk/>
            <pc:sldMk cId="4140108704" sldId="332"/>
            <ac:spMk id="2" creationId="{48DEA030-6A56-DC2B-1899-0C0506548DEF}"/>
          </ac:spMkLst>
        </pc:spChg>
        <pc:spChg chg="ord">
          <ac:chgData name="Muffoletto, Jamie" userId="daf1e3c6-8137-448a-b141-d23049d419b5" providerId="ADAL" clId="{32F44A3F-12BC-437C-AC96-AAB1A2E01894}" dt="2025-07-19T15:27:42.141" v="7738" actId="13244"/>
          <ac:spMkLst>
            <pc:docMk/>
            <pc:sldMk cId="4140108704" sldId="332"/>
            <ac:spMk id="4" creationId="{D4AF9EE5-17F5-892F-C6B8-6F21BEF8354B}"/>
          </ac:spMkLst>
        </pc:spChg>
        <pc:spChg chg="mod">
          <ac:chgData name="Muffoletto, Jamie" userId="daf1e3c6-8137-448a-b141-d23049d419b5" providerId="ADAL" clId="{32F44A3F-12BC-437C-AC96-AAB1A2E01894}" dt="2025-07-18T21:49:58.619" v="6133"/>
          <ac:spMkLst>
            <pc:docMk/>
            <pc:sldMk cId="4140108704" sldId="332"/>
            <ac:spMk id="5" creationId="{5B569B7C-7C51-DA78-8697-AFA9359A419D}"/>
          </ac:spMkLst>
        </pc:spChg>
        <pc:spChg chg="mod">
          <ac:chgData name="Muffoletto, Jamie" userId="daf1e3c6-8137-448a-b141-d23049d419b5" providerId="ADAL" clId="{32F44A3F-12BC-437C-AC96-AAB1A2E01894}" dt="2025-07-19T23:24:52.768" v="14600" actId="20577"/>
          <ac:spMkLst>
            <pc:docMk/>
            <pc:sldMk cId="4140108704" sldId="332"/>
            <ac:spMk id="6" creationId="{154CE1F0-CA8D-E58D-116B-44CE1FB3A2A7}"/>
          </ac:spMkLst>
        </pc:spChg>
      </pc:sldChg>
      <pc:sldChg chg="addSp delSp modSp add mod">
        <pc:chgData name="Muffoletto, Jamie" userId="daf1e3c6-8137-448a-b141-d23049d419b5" providerId="ADAL" clId="{32F44A3F-12BC-437C-AC96-AAB1A2E01894}" dt="2025-07-19T23:10:14.748" v="14474" actId="20577"/>
        <pc:sldMkLst>
          <pc:docMk/>
          <pc:sldMk cId="265141631" sldId="333"/>
        </pc:sldMkLst>
        <pc:spChg chg="mod">
          <ac:chgData name="Muffoletto, Jamie" userId="daf1e3c6-8137-448a-b141-d23049d419b5" providerId="ADAL" clId="{32F44A3F-12BC-437C-AC96-AAB1A2E01894}" dt="2025-07-18T21:51:38.085" v="6147"/>
          <ac:spMkLst>
            <pc:docMk/>
            <pc:sldMk cId="265141631" sldId="333"/>
            <ac:spMk id="5" creationId="{706CA10C-9F84-7E8A-6C27-9C5F7A4C2A58}"/>
          </ac:spMkLst>
        </pc:spChg>
        <pc:spChg chg="add mod">
          <ac:chgData name="Muffoletto, Jamie" userId="daf1e3c6-8137-448a-b141-d23049d419b5" providerId="ADAL" clId="{32F44A3F-12BC-437C-AC96-AAB1A2E01894}" dt="2025-07-19T23:10:14.748" v="14474" actId="20577"/>
          <ac:spMkLst>
            <pc:docMk/>
            <pc:sldMk cId="265141631" sldId="333"/>
            <ac:spMk id="8" creationId="{AC7F9E5F-554F-6CE6-2AC9-7BE575A1C629}"/>
          </ac:spMkLst>
        </pc:spChg>
        <pc:spChg chg="add mod">
          <ac:chgData name="Muffoletto, Jamie" userId="daf1e3c6-8137-448a-b141-d23049d419b5" providerId="ADAL" clId="{32F44A3F-12BC-437C-AC96-AAB1A2E01894}" dt="2025-07-19T15:23:43.754" v="7582" actId="20577"/>
          <ac:spMkLst>
            <pc:docMk/>
            <pc:sldMk cId="265141631" sldId="333"/>
            <ac:spMk id="9" creationId="{69A9C267-1B04-152A-6F3F-263C8491912A}"/>
          </ac:spMkLst>
        </pc:spChg>
      </pc:sldChg>
      <pc:sldChg chg="addSp delSp modSp add mod">
        <pc:chgData name="Muffoletto, Jamie" userId="daf1e3c6-8137-448a-b141-d23049d419b5" providerId="ADAL" clId="{32F44A3F-12BC-437C-AC96-AAB1A2E01894}" dt="2025-07-19T23:10:21.329" v="14475" actId="20577"/>
        <pc:sldMkLst>
          <pc:docMk/>
          <pc:sldMk cId="1532277744" sldId="334"/>
        </pc:sldMkLst>
        <pc:spChg chg="mod">
          <ac:chgData name="Muffoletto, Jamie" userId="daf1e3c6-8137-448a-b141-d23049d419b5" providerId="ADAL" clId="{32F44A3F-12BC-437C-AC96-AAB1A2E01894}" dt="2025-07-18T21:51:45.652" v="6148"/>
          <ac:spMkLst>
            <pc:docMk/>
            <pc:sldMk cId="1532277744" sldId="334"/>
            <ac:spMk id="5" creationId="{29757590-D7C7-71A5-65A8-7803DDE84AFE}"/>
          </ac:spMkLst>
        </pc:spChg>
        <pc:spChg chg="add mod">
          <ac:chgData name="Muffoletto, Jamie" userId="daf1e3c6-8137-448a-b141-d23049d419b5" providerId="ADAL" clId="{32F44A3F-12BC-437C-AC96-AAB1A2E01894}" dt="2025-07-19T23:10:21.329" v="14475" actId="20577"/>
          <ac:spMkLst>
            <pc:docMk/>
            <pc:sldMk cId="1532277744" sldId="334"/>
            <ac:spMk id="7" creationId="{6DDD5D5C-FAE0-E947-A844-24A161BF4ACD}"/>
          </ac:spMkLst>
        </pc:spChg>
        <pc:spChg chg="add mod">
          <ac:chgData name="Muffoletto, Jamie" userId="daf1e3c6-8137-448a-b141-d23049d419b5" providerId="ADAL" clId="{32F44A3F-12BC-437C-AC96-AAB1A2E01894}" dt="2025-07-19T15:49:12.900" v="9630" actId="20577"/>
          <ac:spMkLst>
            <pc:docMk/>
            <pc:sldMk cId="1532277744" sldId="334"/>
            <ac:spMk id="8" creationId="{4A17FD8A-4503-5682-5C4F-7A398DF08995}"/>
          </ac:spMkLst>
        </pc:spChg>
      </pc:sldChg>
      <pc:sldChg chg="addSp delSp modSp add mod">
        <pc:chgData name="Muffoletto, Jamie" userId="daf1e3c6-8137-448a-b141-d23049d419b5" providerId="ADAL" clId="{32F44A3F-12BC-437C-AC96-AAB1A2E01894}" dt="2025-07-19T23:24:37.269" v="14589" actId="20577"/>
        <pc:sldMkLst>
          <pc:docMk/>
          <pc:sldMk cId="3650857004" sldId="335"/>
        </pc:sldMkLst>
        <pc:spChg chg="mod">
          <ac:chgData name="Muffoletto, Jamie" userId="daf1e3c6-8137-448a-b141-d23049d419b5" providerId="ADAL" clId="{32F44A3F-12BC-437C-AC96-AAB1A2E01894}" dt="2025-07-18T21:51:51.364" v="6149"/>
          <ac:spMkLst>
            <pc:docMk/>
            <pc:sldMk cId="3650857004" sldId="335"/>
            <ac:spMk id="5" creationId="{8FBF01C5-26A8-1AAA-D264-53CA10E656F4}"/>
          </ac:spMkLst>
        </pc:spChg>
        <pc:spChg chg="add mod">
          <ac:chgData name="Muffoletto, Jamie" userId="daf1e3c6-8137-448a-b141-d23049d419b5" providerId="ADAL" clId="{32F44A3F-12BC-437C-AC96-AAB1A2E01894}" dt="2025-07-19T23:24:37.269" v="14589" actId="20577"/>
          <ac:spMkLst>
            <pc:docMk/>
            <pc:sldMk cId="3650857004" sldId="335"/>
            <ac:spMk id="7" creationId="{5BA04BEF-5D05-53A1-7899-49161A9B9569}"/>
          </ac:spMkLst>
        </pc:spChg>
        <pc:spChg chg="add mod">
          <ac:chgData name="Muffoletto, Jamie" userId="daf1e3c6-8137-448a-b141-d23049d419b5" providerId="ADAL" clId="{32F44A3F-12BC-437C-AC96-AAB1A2E01894}" dt="2025-07-19T15:53:01.551" v="9951" actId="20577"/>
          <ac:spMkLst>
            <pc:docMk/>
            <pc:sldMk cId="3650857004" sldId="335"/>
            <ac:spMk id="8" creationId="{EC4BF397-08E9-6A57-55AF-72FB0A4A0BF5}"/>
          </ac:spMkLst>
        </pc:spChg>
      </pc:sldChg>
      <pc:sldChg chg="addSp delSp modSp add mod">
        <pc:chgData name="Muffoletto, Jamie" userId="daf1e3c6-8137-448a-b141-d23049d419b5" providerId="ADAL" clId="{32F44A3F-12BC-437C-AC96-AAB1A2E01894}" dt="2025-07-19T19:49:26.799" v="13875" actId="20577"/>
        <pc:sldMkLst>
          <pc:docMk/>
          <pc:sldMk cId="2497658441" sldId="336"/>
        </pc:sldMkLst>
        <pc:spChg chg="mod">
          <ac:chgData name="Muffoletto, Jamie" userId="daf1e3c6-8137-448a-b141-d23049d419b5" providerId="ADAL" clId="{32F44A3F-12BC-437C-AC96-AAB1A2E01894}" dt="2025-07-18T21:51:56.271" v="6150"/>
          <ac:spMkLst>
            <pc:docMk/>
            <pc:sldMk cId="2497658441" sldId="336"/>
            <ac:spMk id="5" creationId="{3A16CB30-2BF8-AE67-AE84-BE1FC9F25381}"/>
          </ac:spMkLst>
        </pc:spChg>
        <pc:spChg chg="add mod">
          <ac:chgData name="Muffoletto, Jamie" userId="daf1e3c6-8137-448a-b141-d23049d419b5" providerId="ADAL" clId="{32F44A3F-12BC-437C-AC96-AAB1A2E01894}" dt="2025-07-19T19:49:26.799" v="13875" actId="20577"/>
          <ac:spMkLst>
            <pc:docMk/>
            <pc:sldMk cId="2497658441" sldId="336"/>
            <ac:spMk id="7" creationId="{3437B0B5-8156-9DF1-8FA5-AB2AC5B85891}"/>
          </ac:spMkLst>
        </pc:spChg>
        <pc:spChg chg="add mod">
          <ac:chgData name="Muffoletto, Jamie" userId="daf1e3c6-8137-448a-b141-d23049d419b5" providerId="ADAL" clId="{32F44A3F-12BC-437C-AC96-AAB1A2E01894}" dt="2025-07-19T16:00:29.539" v="10732" actId="20577"/>
          <ac:spMkLst>
            <pc:docMk/>
            <pc:sldMk cId="2497658441" sldId="336"/>
            <ac:spMk id="8" creationId="{5B32A6D3-F312-6B18-C165-B492A9B77BE5}"/>
          </ac:spMkLst>
        </pc:spChg>
      </pc:sldChg>
      <pc:sldChg chg="addSp delSp modSp add mod">
        <pc:chgData name="Muffoletto, Jamie" userId="daf1e3c6-8137-448a-b141-d23049d419b5" providerId="ADAL" clId="{32F44A3F-12BC-437C-AC96-AAB1A2E01894}" dt="2025-07-19T19:49:35.023" v="13876" actId="20577"/>
        <pc:sldMkLst>
          <pc:docMk/>
          <pc:sldMk cId="4031189763" sldId="337"/>
        </pc:sldMkLst>
        <pc:spChg chg="mod">
          <ac:chgData name="Muffoletto, Jamie" userId="daf1e3c6-8137-448a-b141-d23049d419b5" providerId="ADAL" clId="{32F44A3F-12BC-437C-AC96-AAB1A2E01894}" dt="2025-07-18T21:52:01.902" v="6151"/>
          <ac:spMkLst>
            <pc:docMk/>
            <pc:sldMk cId="4031189763" sldId="337"/>
            <ac:spMk id="5" creationId="{828499FD-A4B7-6C0D-AA1D-550500A9B298}"/>
          </ac:spMkLst>
        </pc:spChg>
        <pc:spChg chg="add mod">
          <ac:chgData name="Muffoletto, Jamie" userId="daf1e3c6-8137-448a-b141-d23049d419b5" providerId="ADAL" clId="{32F44A3F-12BC-437C-AC96-AAB1A2E01894}" dt="2025-07-19T19:49:35.023" v="13876" actId="20577"/>
          <ac:spMkLst>
            <pc:docMk/>
            <pc:sldMk cId="4031189763" sldId="337"/>
            <ac:spMk id="7" creationId="{2958D567-E385-D86B-8FFD-8653DC09F04F}"/>
          </ac:spMkLst>
        </pc:spChg>
        <pc:spChg chg="add mod">
          <ac:chgData name="Muffoletto, Jamie" userId="daf1e3c6-8137-448a-b141-d23049d419b5" providerId="ADAL" clId="{32F44A3F-12BC-437C-AC96-AAB1A2E01894}" dt="2025-07-19T16:10:10.478" v="11721" actId="20577"/>
          <ac:spMkLst>
            <pc:docMk/>
            <pc:sldMk cId="4031189763" sldId="337"/>
            <ac:spMk id="8" creationId="{2F926383-5526-1355-1383-3FD0B6D2E460}"/>
          </ac:spMkLst>
        </pc:spChg>
      </pc:sldChg>
      <pc:sldChg chg="addSp delSp modSp add mod">
        <pc:chgData name="Muffoletto, Jamie" userId="daf1e3c6-8137-448a-b141-d23049d419b5" providerId="ADAL" clId="{32F44A3F-12BC-437C-AC96-AAB1A2E01894}" dt="2025-07-19T16:28:01.053" v="12827" actId="20577"/>
        <pc:sldMkLst>
          <pc:docMk/>
          <pc:sldMk cId="1577138821" sldId="338"/>
        </pc:sldMkLst>
        <pc:spChg chg="mod">
          <ac:chgData name="Muffoletto, Jamie" userId="daf1e3c6-8137-448a-b141-d23049d419b5" providerId="ADAL" clId="{32F44A3F-12BC-437C-AC96-AAB1A2E01894}" dt="2025-07-18T21:52:07.412" v="6152"/>
          <ac:spMkLst>
            <pc:docMk/>
            <pc:sldMk cId="1577138821" sldId="338"/>
            <ac:spMk id="5" creationId="{23A658E2-E61D-8F5F-7875-42B3165DA221}"/>
          </ac:spMkLst>
        </pc:spChg>
        <pc:spChg chg="add mod">
          <ac:chgData name="Muffoletto, Jamie" userId="daf1e3c6-8137-448a-b141-d23049d419b5" providerId="ADAL" clId="{32F44A3F-12BC-437C-AC96-AAB1A2E01894}" dt="2025-07-19T16:28:01.053" v="12827" actId="20577"/>
          <ac:spMkLst>
            <pc:docMk/>
            <pc:sldMk cId="1577138821" sldId="338"/>
            <ac:spMk id="7" creationId="{82314D48-196C-D710-3ACE-23B8EAAC13D1}"/>
          </ac:spMkLst>
        </pc:spChg>
        <pc:spChg chg="add mod">
          <ac:chgData name="Muffoletto, Jamie" userId="daf1e3c6-8137-448a-b141-d23049d419b5" providerId="ADAL" clId="{32F44A3F-12BC-437C-AC96-AAB1A2E01894}" dt="2025-07-19T16:16:12.284" v="11828" actId="20577"/>
          <ac:spMkLst>
            <pc:docMk/>
            <pc:sldMk cId="1577138821" sldId="338"/>
            <ac:spMk id="8" creationId="{4C9F4EDA-E02B-C509-8F12-CEFD086D5C01}"/>
          </ac:spMkLst>
        </pc:spChg>
      </pc:sldChg>
      <pc:sldChg chg="addSp delSp modSp add mod">
        <pc:chgData name="Muffoletto, Jamie" userId="daf1e3c6-8137-448a-b141-d23049d419b5" providerId="ADAL" clId="{32F44A3F-12BC-437C-AC96-AAB1A2E01894}" dt="2025-07-19T23:25:52.174" v="14611" actId="20577"/>
        <pc:sldMkLst>
          <pc:docMk/>
          <pc:sldMk cId="1288000117" sldId="339"/>
        </pc:sldMkLst>
      </pc:sldChg>
      <pc:sldChg chg="modSp add mod">
        <pc:chgData name="Muffoletto, Jamie" userId="daf1e3c6-8137-448a-b141-d23049d419b5" providerId="ADAL" clId="{32F44A3F-12BC-437C-AC96-AAB1A2E01894}" dt="2025-07-19T20:02:20.045" v="14138" actId="20577"/>
        <pc:sldMkLst>
          <pc:docMk/>
          <pc:sldMk cId="1137578800" sldId="340"/>
        </pc:sldMkLst>
        <pc:spChg chg="mod">
          <ac:chgData name="Muffoletto, Jamie" userId="daf1e3c6-8137-448a-b141-d23049d419b5" providerId="ADAL" clId="{32F44A3F-12BC-437C-AC96-AAB1A2E01894}" dt="2025-07-19T16:37:45.721" v="12937" actId="6549"/>
          <ac:spMkLst>
            <pc:docMk/>
            <pc:sldMk cId="1137578800" sldId="340"/>
            <ac:spMk id="5" creationId="{62CE2511-DE11-6CBF-E660-D5A373791E42}"/>
          </ac:spMkLst>
        </pc:spChg>
        <pc:spChg chg="mod">
          <ac:chgData name="Muffoletto, Jamie" userId="daf1e3c6-8137-448a-b141-d23049d419b5" providerId="ADAL" clId="{32F44A3F-12BC-437C-AC96-AAB1A2E01894}" dt="2025-07-19T20:01:28.972" v="14107" actId="20577"/>
          <ac:spMkLst>
            <pc:docMk/>
            <pc:sldMk cId="1137578800" sldId="340"/>
            <ac:spMk id="7" creationId="{8B9BFBA8-FF78-1801-3DED-C2A97B550604}"/>
          </ac:spMkLst>
        </pc:spChg>
        <pc:spChg chg="mod">
          <ac:chgData name="Muffoletto, Jamie" userId="daf1e3c6-8137-448a-b141-d23049d419b5" providerId="ADAL" clId="{32F44A3F-12BC-437C-AC96-AAB1A2E01894}" dt="2025-07-19T20:02:20.045" v="14138" actId="20577"/>
          <ac:spMkLst>
            <pc:docMk/>
            <pc:sldMk cId="1137578800" sldId="340"/>
            <ac:spMk id="8" creationId="{DE0B8E90-5DE3-232F-9562-E98700D75738}"/>
          </ac:spMkLst>
        </pc:spChg>
      </pc:sldChg>
      <pc:sldChg chg="addSp delSp modSp add del mod">
        <pc:chgData name="Muffoletto, Jamie" userId="daf1e3c6-8137-448a-b141-d23049d419b5" providerId="ADAL" clId="{32F44A3F-12BC-437C-AC96-AAB1A2E01894}" dt="2025-07-19T16:36:57.682" v="12924" actId="2696"/>
        <pc:sldMkLst>
          <pc:docMk/>
          <pc:sldMk cId="1404789713" sldId="340"/>
        </pc:sldMkLst>
      </pc:sldChg>
      <pc:sldChg chg="modSp add mod">
        <pc:chgData name="Muffoletto, Jamie" userId="daf1e3c6-8137-448a-b141-d23049d419b5" providerId="ADAL" clId="{32F44A3F-12BC-437C-AC96-AAB1A2E01894}" dt="2025-07-20T02:15:21.327" v="17049" actId="403"/>
        <pc:sldMkLst>
          <pc:docMk/>
          <pc:sldMk cId="2102785228" sldId="341"/>
        </pc:sldMkLst>
        <pc:spChg chg="mod">
          <ac:chgData name="Muffoletto, Jamie" userId="daf1e3c6-8137-448a-b141-d23049d419b5" providerId="ADAL" clId="{32F44A3F-12BC-437C-AC96-AAB1A2E01894}" dt="2025-07-20T02:15:21.327" v="17049" actId="403"/>
          <ac:spMkLst>
            <pc:docMk/>
            <pc:sldMk cId="2102785228" sldId="341"/>
            <ac:spMk id="6" creationId="{93838C7C-A589-54B8-14A4-8CB6995AF477}"/>
          </ac:spMkLst>
        </pc:spChg>
      </pc:sldChg>
      <pc:sldChg chg="add del ord">
        <pc:chgData name="Muffoletto, Jamie" userId="daf1e3c6-8137-448a-b141-d23049d419b5" providerId="ADAL" clId="{32F44A3F-12BC-437C-AC96-AAB1A2E01894}" dt="2025-07-19T16:38:04.841" v="12938" actId="2696"/>
        <pc:sldMkLst>
          <pc:docMk/>
          <pc:sldMk cId="2350389685" sldId="341"/>
        </pc:sldMkLst>
      </pc:sldChg>
      <pc:sldChg chg="modSp add del mod">
        <pc:chgData name="Muffoletto, Jamie" userId="daf1e3c6-8137-448a-b141-d23049d419b5" providerId="ADAL" clId="{32F44A3F-12BC-437C-AC96-AAB1A2E01894}" dt="2025-07-19T16:43:53.859" v="12982" actId="2696"/>
        <pc:sldMkLst>
          <pc:docMk/>
          <pc:sldMk cId="2811157316" sldId="341"/>
        </pc:sldMkLst>
      </pc:sldChg>
      <pc:sldChg chg="modSp add del mod">
        <pc:chgData name="Muffoletto, Jamie" userId="daf1e3c6-8137-448a-b141-d23049d419b5" providerId="ADAL" clId="{32F44A3F-12BC-437C-AC96-AAB1A2E01894}" dt="2025-07-19T16:43:53.859" v="12982" actId="2696"/>
        <pc:sldMkLst>
          <pc:docMk/>
          <pc:sldMk cId="1199238114" sldId="342"/>
        </pc:sldMkLst>
      </pc:sldChg>
      <pc:sldChg chg="addSp delSp modSp add del mod">
        <pc:chgData name="Muffoletto, Jamie" userId="daf1e3c6-8137-448a-b141-d23049d419b5" providerId="ADAL" clId="{32F44A3F-12BC-437C-AC96-AAB1A2E01894}" dt="2025-07-19T16:38:04.841" v="12938" actId="2696"/>
        <pc:sldMkLst>
          <pc:docMk/>
          <pc:sldMk cId="2483198077" sldId="342"/>
        </pc:sldMkLst>
      </pc:sldChg>
      <pc:sldChg chg="modSp add mod">
        <pc:chgData name="Muffoletto, Jamie" userId="daf1e3c6-8137-448a-b141-d23049d419b5" providerId="ADAL" clId="{32F44A3F-12BC-437C-AC96-AAB1A2E01894}" dt="2025-07-19T23:12:07.278" v="14488" actId="20577"/>
        <pc:sldMkLst>
          <pc:docMk/>
          <pc:sldMk cId="3717530964" sldId="342"/>
        </pc:sldMkLst>
        <pc:spChg chg="mod">
          <ac:chgData name="Muffoletto, Jamie" userId="daf1e3c6-8137-448a-b141-d23049d419b5" providerId="ADAL" clId="{32F44A3F-12BC-437C-AC96-AAB1A2E01894}" dt="2025-07-19T18:43:47.678" v="13246" actId="20577"/>
          <ac:spMkLst>
            <pc:docMk/>
            <pc:sldMk cId="3717530964" sldId="342"/>
            <ac:spMk id="5" creationId="{6A2F418C-0E57-1563-E81C-F222894C38B9}"/>
          </ac:spMkLst>
        </pc:spChg>
        <pc:spChg chg="mod">
          <ac:chgData name="Muffoletto, Jamie" userId="daf1e3c6-8137-448a-b141-d23049d419b5" providerId="ADAL" clId="{32F44A3F-12BC-437C-AC96-AAB1A2E01894}" dt="2025-07-19T23:12:07.278" v="14488" actId="20577"/>
          <ac:spMkLst>
            <pc:docMk/>
            <pc:sldMk cId="3717530964" sldId="342"/>
            <ac:spMk id="7" creationId="{E82744F0-DCEB-6DB2-2F2B-6A20276FC5BB}"/>
          </ac:spMkLst>
        </pc:spChg>
        <pc:spChg chg="mod">
          <ac:chgData name="Muffoletto, Jamie" userId="daf1e3c6-8137-448a-b141-d23049d419b5" providerId="ADAL" clId="{32F44A3F-12BC-437C-AC96-AAB1A2E01894}" dt="2025-07-19T19:08:37.346" v="13408" actId="20577"/>
          <ac:spMkLst>
            <pc:docMk/>
            <pc:sldMk cId="3717530964" sldId="342"/>
            <ac:spMk id="8" creationId="{AEF6106E-EA53-3800-0E81-6246C578D6E7}"/>
          </ac:spMkLst>
        </pc:spChg>
      </pc:sldChg>
      <pc:sldChg chg="addSp delSp modSp add mod">
        <pc:chgData name="Muffoletto, Jamie" userId="daf1e3c6-8137-448a-b141-d23049d419b5" providerId="ADAL" clId="{32F44A3F-12BC-437C-AC96-AAB1A2E01894}" dt="2025-07-19T23:09:04.548" v="14472" actId="20577"/>
        <pc:sldMkLst>
          <pc:docMk/>
          <pc:sldMk cId="4187050856" sldId="343"/>
        </pc:sldMkLst>
        <pc:spChg chg="mod">
          <ac:chgData name="Muffoletto, Jamie" userId="daf1e3c6-8137-448a-b141-d23049d419b5" providerId="ADAL" clId="{32F44A3F-12BC-437C-AC96-AAB1A2E01894}" dt="2025-07-18T21:52:56.582" v="6162"/>
          <ac:spMkLst>
            <pc:docMk/>
            <pc:sldMk cId="4187050856" sldId="343"/>
            <ac:spMk id="5" creationId="{26688193-98DD-0DD5-DACA-716E60C49593}"/>
          </ac:spMkLst>
        </pc:spChg>
        <pc:spChg chg="add mod">
          <ac:chgData name="Muffoletto, Jamie" userId="daf1e3c6-8137-448a-b141-d23049d419b5" providerId="ADAL" clId="{32F44A3F-12BC-437C-AC96-AAB1A2E01894}" dt="2025-07-19T23:09:04.548" v="14472" actId="20577"/>
          <ac:spMkLst>
            <pc:docMk/>
            <pc:sldMk cId="4187050856" sldId="343"/>
            <ac:spMk id="7" creationId="{66557640-DBE5-2C44-325B-27336FA62423}"/>
          </ac:spMkLst>
        </pc:spChg>
        <pc:spChg chg="add mod">
          <ac:chgData name="Muffoletto, Jamie" userId="daf1e3c6-8137-448a-b141-d23049d419b5" providerId="ADAL" clId="{32F44A3F-12BC-437C-AC96-AAB1A2E01894}" dt="2025-07-19T22:56:09.678" v="14157" actId="20577"/>
          <ac:spMkLst>
            <pc:docMk/>
            <pc:sldMk cId="4187050856" sldId="343"/>
            <ac:spMk id="8" creationId="{F52C3DD2-868D-D0DC-EB72-2250A18B5FE9}"/>
          </ac:spMkLst>
        </pc:spChg>
      </pc:sldChg>
      <pc:sldChg chg="addSp delSp modSp add mod">
        <pc:chgData name="Muffoletto, Jamie" userId="daf1e3c6-8137-448a-b141-d23049d419b5" providerId="ADAL" clId="{32F44A3F-12BC-437C-AC96-AAB1A2E01894}" dt="2025-07-19T23:26:58.733" v="14631" actId="20577"/>
        <pc:sldMkLst>
          <pc:docMk/>
          <pc:sldMk cId="1479616428" sldId="344"/>
        </pc:sldMkLst>
        <pc:spChg chg="mod">
          <ac:chgData name="Muffoletto, Jamie" userId="daf1e3c6-8137-448a-b141-d23049d419b5" providerId="ADAL" clId="{32F44A3F-12BC-437C-AC96-AAB1A2E01894}" dt="2025-07-18T21:53:02.182" v="6163"/>
          <ac:spMkLst>
            <pc:docMk/>
            <pc:sldMk cId="1479616428" sldId="344"/>
            <ac:spMk id="5" creationId="{DC767686-AB64-3967-22FB-CE4A68F57BAE}"/>
          </ac:spMkLst>
        </pc:spChg>
        <pc:spChg chg="add mod">
          <ac:chgData name="Muffoletto, Jamie" userId="daf1e3c6-8137-448a-b141-d23049d419b5" providerId="ADAL" clId="{32F44A3F-12BC-437C-AC96-AAB1A2E01894}" dt="2025-07-19T23:26:58.733" v="14631" actId="20577"/>
          <ac:spMkLst>
            <pc:docMk/>
            <pc:sldMk cId="1479616428" sldId="344"/>
            <ac:spMk id="7" creationId="{779E54CA-A60A-03EB-AE9A-A7837FCC7070}"/>
          </ac:spMkLst>
        </pc:spChg>
        <pc:spChg chg="add mod">
          <ac:chgData name="Muffoletto, Jamie" userId="daf1e3c6-8137-448a-b141-d23049d419b5" providerId="ADAL" clId="{32F44A3F-12BC-437C-AC96-AAB1A2E01894}" dt="2025-07-19T15:25:42.871" v="7657"/>
          <ac:spMkLst>
            <pc:docMk/>
            <pc:sldMk cId="1479616428" sldId="344"/>
            <ac:spMk id="8" creationId="{335F7D1B-31DA-8174-00A3-5911E2113B9C}"/>
          </ac:spMkLst>
        </pc:spChg>
      </pc:sldChg>
      <pc:sldChg chg="addSp delSp modSp add mod">
        <pc:chgData name="Muffoletto, Jamie" userId="daf1e3c6-8137-448a-b141-d23049d419b5" providerId="ADAL" clId="{32F44A3F-12BC-437C-AC96-AAB1A2E01894}" dt="2025-07-20T02:17:50.565" v="17054" actId="13244"/>
        <pc:sldMkLst>
          <pc:docMk/>
          <pc:sldMk cId="3065251748" sldId="345"/>
        </pc:sldMkLst>
        <pc:spChg chg="ord">
          <ac:chgData name="Muffoletto, Jamie" userId="daf1e3c6-8137-448a-b141-d23049d419b5" providerId="ADAL" clId="{32F44A3F-12BC-437C-AC96-AAB1A2E01894}" dt="2025-07-20T02:17:50.565" v="17054" actId="13244"/>
          <ac:spMkLst>
            <pc:docMk/>
            <pc:sldMk cId="3065251748" sldId="345"/>
            <ac:spMk id="4" creationId="{C2F1BEDD-C4E5-CD55-1524-08C3C3BDC413}"/>
          </ac:spMkLst>
        </pc:spChg>
        <pc:spChg chg="mod">
          <ac:chgData name="Muffoletto, Jamie" userId="daf1e3c6-8137-448a-b141-d23049d419b5" providerId="ADAL" clId="{32F44A3F-12BC-437C-AC96-AAB1A2E01894}" dt="2025-07-20T00:17:56.032" v="14883" actId="20577"/>
          <ac:spMkLst>
            <pc:docMk/>
            <pc:sldMk cId="3065251748" sldId="345"/>
            <ac:spMk id="5" creationId="{3167B224-C3EC-2404-72A9-6043D249A3B9}"/>
          </ac:spMkLst>
        </pc:spChg>
        <pc:spChg chg="add mod">
          <ac:chgData name="Muffoletto, Jamie" userId="daf1e3c6-8137-448a-b141-d23049d419b5" providerId="ADAL" clId="{32F44A3F-12BC-437C-AC96-AAB1A2E01894}" dt="2025-07-20T01:55:12.135" v="16959" actId="403"/>
          <ac:spMkLst>
            <pc:docMk/>
            <pc:sldMk cId="3065251748" sldId="345"/>
            <ac:spMk id="7" creationId="{849540B8-640D-5B62-F395-1D843B26D959}"/>
          </ac:spMkLst>
        </pc:spChg>
        <pc:spChg chg="add mod">
          <ac:chgData name="Muffoletto, Jamie" userId="daf1e3c6-8137-448a-b141-d23049d419b5" providerId="ADAL" clId="{32F44A3F-12BC-437C-AC96-AAB1A2E01894}" dt="2025-07-19T15:25:44.633" v="7658"/>
          <ac:spMkLst>
            <pc:docMk/>
            <pc:sldMk cId="3065251748" sldId="345"/>
            <ac:spMk id="8" creationId="{5D0C227C-0BDF-25A7-324B-6052A0435891}"/>
          </ac:spMkLst>
        </pc:spChg>
      </pc:sldChg>
      <pc:sldChg chg="modSp new mod">
        <pc:chgData name="Muffoletto, Jamie" userId="daf1e3c6-8137-448a-b141-d23049d419b5" providerId="ADAL" clId="{32F44A3F-12BC-437C-AC96-AAB1A2E01894}" dt="2025-07-20T02:03:13.718" v="16992" actId="207"/>
        <pc:sldMkLst>
          <pc:docMk/>
          <pc:sldMk cId="4054429543" sldId="346"/>
        </pc:sldMkLst>
        <pc:spChg chg="mod">
          <ac:chgData name="Muffoletto, Jamie" userId="daf1e3c6-8137-448a-b141-d23049d419b5" providerId="ADAL" clId="{32F44A3F-12BC-437C-AC96-AAB1A2E01894}" dt="2025-07-19T15:29:20.206" v="7748" actId="20577"/>
          <ac:spMkLst>
            <pc:docMk/>
            <pc:sldMk cId="4054429543" sldId="346"/>
            <ac:spMk id="2" creationId="{9604C64E-F18C-D50B-9AD7-8CEEB55A7A98}"/>
          </ac:spMkLst>
        </pc:spChg>
        <pc:spChg chg="mod">
          <ac:chgData name="Muffoletto, Jamie" userId="daf1e3c6-8137-448a-b141-d23049d419b5" providerId="ADAL" clId="{32F44A3F-12BC-437C-AC96-AAB1A2E01894}" dt="2025-07-20T02:03:13.718" v="16992" actId="207"/>
          <ac:spMkLst>
            <pc:docMk/>
            <pc:sldMk cId="4054429543" sldId="346"/>
            <ac:spMk id="3" creationId="{686FEBA5-3324-183D-04E9-B1613F0A6238}"/>
          </ac:spMkLst>
        </pc:spChg>
      </pc:sldChg>
      <pc:sldChg chg="addSp modSp add mod">
        <pc:chgData name="Muffoletto, Jamie" userId="daf1e3c6-8137-448a-b141-d23049d419b5" providerId="ADAL" clId="{32F44A3F-12BC-437C-AC96-AAB1A2E01894}" dt="2025-07-20T02:20:27.800" v="17066" actId="13244"/>
        <pc:sldMkLst>
          <pc:docMk/>
          <pc:sldMk cId="2696003594" sldId="347"/>
        </pc:sldMkLst>
        <pc:spChg chg="add mod">
          <ac:chgData name="Muffoletto, Jamie" userId="daf1e3c6-8137-448a-b141-d23049d419b5" providerId="ADAL" clId="{32F44A3F-12BC-437C-AC96-AAB1A2E01894}" dt="2025-07-20T00:56:08.787" v="15621" actId="1582"/>
          <ac:spMkLst>
            <pc:docMk/>
            <pc:sldMk cId="2696003594" sldId="347"/>
            <ac:spMk id="2" creationId="{A169AE35-9AA7-79D4-8F82-339994C44618}"/>
          </ac:spMkLst>
        </pc:spChg>
        <pc:spChg chg="ord">
          <ac:chgData name="Muffoletto, Jamie" userId="daf1e3c6-8137-448a-b141-d23049d419b5" providerId="ADAL" clId="{32F44A3F-12BC-437C-AC96-AAB1A2E01894}" dt="2025-07-20T02:20:27.800" v="17066" actId="13244"/>
          <ac:spMkLst>
            <pc:docMk/>
            <pc:sldMk cId="2696003594" sldId="347"/>
            <ac:spMk id="4" creationId="{25057D69-74EC-9A60-BE83-A41D89BCC152}"/>
          </ac:spMkLst>
        </pc:spChg>
        <pc:spChg chg="mod">
          <ac:chgData name="Muffoletto, Jamie" userId="daf1e3c6-8137-448a-b141-d23049d419b5" providerId="ADAL" clId="{32F44A3F-12BC-437C-AC96-AAB1A2E01894}" dt="2025-07-20T02:17:16.256" v="17051" actId="20577"/>
          <ac:spMkLst>
            <pc:docMk/>
            <pc:sldMk cId="2696003594" sldId="347"/>
            <ac:spMk id="5" creationId="{C457B258-7663-72E8-E809-E2953AD2CED3}"/>
          </ac:spMkLst>
        </pc:spChg>
        <pc:spChg chg="mod">
          <ac:chgData name="Muffoletto, Jamie" userId="daf1e3c6-8137-448a-b141-d23049d419b5" providerId="ADAL" clId="{32F44A3F-12BC-437C-AC96-AAB1A2E01894}" dt="2025-07-20T02:08:00.386" v="17013" actId="403"/>
          <ac:spMkLst>
            <pc:docMk/>
            <pc:sldMk cId="2696003594" sldId="347"/>
            <ac:spMk id="6" creationId="{6BB5A350-111B-7786-4F59-B2282FB5113F}"/>
          </ac:spMkLst>
        </pc:spChg>
      </pc:sldChg>
      <pc:sldChg chg="modSp add mod">
        <pc:chgData name="Muffoletto, Jamie" userId="daf1e3c6-8137-448a-b141-d23049d419b5" providerId="ADAL" clId="{32F44A3F-12BC-437C-AC96-AAB1A2E01894}" dt="2025-07-20T02:20:46.738" v="17068" actId="13244"/>
        <pc:sldMkLst>
          <pc:docMk/>
          <pc:sldMk cId="2117145295" sldId="348"/>
        </pc:sldMkLst>
        <pc:spChg chg="mod">
          <ac:chgData name="Muffoletto, Jamie" userId="daf1e3c6-8137-448a-b141-d23049d419b5" providerId="ADAL" clId="{32F44A3F-12BC-437C-AC96-AAB1A2E01894}" dt="2025-07-20T01:06:38.137" v="15880" actId="1076"/>
          <ac:spMkLst>
            <pc:docMk/>
            <pc:sldMk cId="2117145295" sldId="348"/>
            <ac:spMk id="2" creationId="{DBDB683F-2F14-B0D0-93A5-7A6F5F118931}"/>
          </ac:spMkLst>
        </pc:spChg>
        <pc:spChg chg="ord">
          <ac:chgData name="Muffoletto, Jamie" userId="daf1e3c6-8137-448a-b141-d23049d419b5" providerId="ADAL" clId="{32F44A3F-12BC-437C-AC96-AAB1A2E01894}" dt="2025-07-20T02:20:46.738" v="17068" actId="13244"/>
          <ac:spMkLst>
            <pc:docMk/>
            <pc:sldMk cId="2117145295" sldId="348"/>
            <ac:spMk id="4" creationId="{9255389B-D30D-75F4-2C8B-4DAA2A9B5846}"/>
          </ac:spMkLst>
        </pc:spChg>
        <pc:spChg chg="mod">
          <ac:chgData name="Muffoletto, Jamie" userId="daf1e3c6-8137-448a-b141-d23049d419b5" providerId="ADAL" clId="{32F44A3F-12BC-437C-AC96-AAB1A2E01894}" dt="2025-07-20T02:17:23.864" v="17052" actId="20577"/>
          <ac:spMkLst>
            <pc:docMk/>
            <pc:sldMk cId="2117145295" sldId="348"/>
            <ac:spMk id="5" creationId="{EDCC938C-C71C-014F-B3AB-CD4D8B9C3DBD}"/>
          </ac:spMkLst>
        </pc:spChg>
        <pc:spChg chg="mod">
          <ac:chgData name="Muffoletto, Jamie" userId="daf1e3c6-8137-448a-b141-d23049d419b5" providerId="ADAL" clId="{32F44A3F-12BC-437C-AC96-AAB1A2E01894}" dt="2025-07-20T01:06:51.549" v="15881" actId="403"/>
          <ac:spMkLst>
            <pc:docMk/>
            <pc:sldMk cId="2117145295" sldId="348"/>
            <ac:spMk id="6" creationId="{45A9ED55-5841-64CD-AE88-AC43F634DB25}"/>
          </ac:spMkLst>
        </pc:spChg>
      </pc:sldChg>
      <pc:sldChg chg="addSp modSp new mod">
        <pc:chgData name="Muffoletto, Jamie" userId="daf1e3c6-8137-448a-b141-d23049d419b5" providerId="ADAL" clId="{32F44A3F-12BC-437C-AC96-AAB1A2E01894}" dt="2025-07-20T02:16:52.693" v="17050" actId="33553"/>
        <pc:sldMkLst>
          <pc:docMk/>
          <pc:sldMk cId="2444182880" sldId="349"/>
        </pc:sldMkLst>
        <pc:spChg chg="add mod">
          <ac:chgData name="Muffoletto, Jamie" userId="daf1e3c6-8137-448a-b141-d23049d419b5" providerId="ADAL" clId="{32F44A3F-12BC-437C-AC96-AAB1A2E01894}" dt="2025-07-20T02:16:52.693" v="17050" actId="33553"/>
          <ac:spMkLst>
            <pc:docMk/>
            <pc:sldMk cId="2444182880" sldId="349"/>
            <ac:spMk id="2" creationId="{4A5A9BAC-A18A-74C0-28B2-48003073E920}"/>
          </ac:spMkLst>
        </pc:spChg>
      </pc:sldChg>
    </pc:docChg>
  </pc:docChgLst>
  <pc:docChgLst>
    <pc:chgData name="Muffoletto, Jamie" userId="daf1e3c6-8137-448a-b141-d23049d419b5" providerId="ADAL" clId="{DDE82D7E-8C57-4757-859B-4947FB684CA1}"/>
    <pc:docChg chg="undo custSel addSld delSld modSld modSection">
      <pc:chgData name="Muffoletto, Jamie" userId="daf1e3c6-8137-448a-b141-d23049d419b5" providerId="ADAL" clId="{DDE82D7E-8C57-4757-859B-4947FB684CA1}" dt="2025-07-24T17:51:30.279" v="2853" actId="13244"/>
      <pc:docMkLst>
        <pc:docMk/>
      </pc:docMkLst>
      <pc:sldChg chg="modSp mod modCm">
        <pc:chgData name="Muffoletto, Jamie" userId="daf1e3c6-8137-448a-b141-d23049d419b5" providerId="ADAL" clId="{DDE82D7E-8C57-4757-859B-4947FB684CA1}" dt="2025-07-24T15:24:21.418" v="1628" actId="20577"/>
        <pc:sldMkLst>
          <pc:docMk/>
          <pc:sldMk cId="161098843" sldId="299"/>
        </pc:sldMkLst>
        <pc:spChg chg="mod">
          <ac:chgData name="Muffoletto, Jamie" userId="daf1e3c6-8137-448a-b141-d23049d419b5" providerId="ADAL" clId="{DDE82D7E-8C57-4757-859B-4947FB684CA1}" dt="2025-07-24T15:24:21.418" v="1628" actId="20577"/>
          <ac:spMkLst>
            <pc:docMk/>
            <pc:sldMk cId="161098843" sldId="299"/>
            <ac:spMk id="6" creationId="{EEC02397-CF23-8071-0DC5-5D4C3630191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4646B06B-0ADA-40C8-ACE5-1BB5C10A362C}"/>
              </pc2:cmMkLst>
            </pc226:cmChg>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2AF3A16D-67AA-4766-92AC-87470F40257E}"/>
              </pc2:cmMkLst>
            </pc226:cmChg>
            <pc226:cmChg xmlns:pc226="http://schemas.microsoft.com/office/powerpoint/2022/06/main/command" chg="mod">
              <pc226:chgData name="Muffoletto, Jamie" userId="daf1e3c6-8137-448a-b141-d23049d419b5" providerId="ADAL" clId="{DDE82D7E-8C57-4757-859B-4947FB684CA1}" dt="2025-07-24T15:24:21.418" v="1628" actId="20577"/>
              <pc2:cmMkLst xmlns:pc2="http://schemas.microsoft.com/office/powerpoint/2019/9/main/command">
                <pc:docMk/>
                <pc:sldMk cId="161098843" sldId="299"/>
                <pc2:cmMk id="{CB5D7083-8BF2-41F0-AEF7-BFEABA42AF6F}"/>
              </pc2:cmMkLst>
            </pc226:cmChg>
          </p:ext>
        </pc:extLst>
      </pc:sldChg>
      <pc:sldChg chg="modSp mod">
        <pc:chgData name="Muffoletto, Jamie" userId="daf1e3c6-8137-448a-b141-d23049d419b5" providerId="ADAL" clId="{DDE82D7E-8C57-4757-859B-4947FB684CA1}" dt="2025-07-23T15:09:25.960" v="201" actId="20577"/>
        <pc:sldMkLst>
          <pc:docMk/>
          <pc:sldMk cId="970914418" sldId="300"/>
        </pc:sldMkLst>
        <pc:spChg chg="mod">
          <ac:chgData name="Muffoletto, Jamie" userId="daf1e3c6-8137-448a-b141-d23049d419b5" providerId="ADAL" clId="{DDE82D7E-8C57-4757-859B-4947FB684CA1}" dt="2025-07-23T15:09:25.960" v="201" actId="20577"/>
          <ac:spMkLst>
            <pc:docMk/>
            <pc:sldMk cId="970914418" sldId="300"/>
            <ac:spMk id="2" creationId="{BD4B6C70-257D-49CC-5A9B-AD5D7F704E65}"/>
          </ac:spMkLst>
        </pc:spChg>
      </pc:sldChg>
      <pc:sldChg chg="modSp mod modCm">
        <pc:chgData name="Muffoletto, Jamie" userId="daf1e3c6-8137-448a-b141-d23049d419b5" providerId="ADAL" clId="{DDE82D7E-8C57-4757-859B-4947FB684CA1}" dt="2025-07-24T11:15:49.638" v="911" actId="20577"/>
        <pc:sldMkLst>
          <pc:docMk/>
          <pc:sldMk cId="3620040107" sldId="303"/>
        </pc:sldMkLst>
        <pc:spChg chg="mod">
          <ac:chgData name="Muffoletto, Jamie" userId="daf1e3c6-8137-448a-b141-d23049d419b5" providerId="ADAL" clId="{DDE82D7E-8C57-4757-859B-4947FB684CA1}" dt="2025-07-24T11:15:49.638" v="911" actId="20577"/>
          <ac:spMkLst>
            <pc:docMk/>
            <pc:sldMk cId="3620040107" sldId="303"/>
            <ac:spMk id="6" creationId="{9B2D2275-2892-1AC9-2664-A69D91657ABF}"/>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15:49.638" v="911" actId="20577"/>
              <pc2:cmMkLst xmlns:pc2="http://schemas.microsoft.com/office/powerpoint/2019/9/main/command">
                <pc:docMk/>
                <pc:sldMk cId="3620040107" sldId="303"/>
                <pc2:cmMk id="{8E605EFD-65C6-4D8F-990C-7886606AB87E}"/>
              </pc2:cmMkLst>
            </pc226:cmChg>
          </p:ext>
        </pc:extLst>
      </pc:sldChg>
      <pc:sldChg chg="modSp mod modCm">
        <pc:chgData name="Muffoletto, Jamie" userId="daf1e3c6-8137-448a-b141-d23049d419b5" providerId="ADAL" clId="{DDE82D7E-8C57-4757-859B-4947FB684CA1}" dt="2025-07-24T15:26:11.583" v="1635" actId="20577"/>
        <pc:sldMkLst>
          <pc:docMk/>
          <pc:sldMk cId="1073847132" sldId="304"/>
        </pc:sldMkLst>
        <pc:spChg chg="mod">
          <ac:chgData name="Muffoletto, Jamie" userId="daf1e3c6-8137-448a-b141-d23049d419b5" providerId="ADAL" clId="{DDE82D7E-8C57-4757-859B-4947FB684CA1}" dt="2025-07-24T15:26:11.583" v="1635" actId="20577"/>
          <ac:spMkLst>
            <pc:docMk/>
            <pc:sldMk cId="1073847132" sldId="304"/>
            <ac:spMk id="2" creationId="{58E19228-5582-4187-0454-3C34E66974C9}"/>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26:11.583" v="1635" actId="20577"/>
              <pc2:cmMkLst xmlns:pc2="http://schemas.microsoft.com/office/powerpoint/2019/9/main/command">
                <pc:docMk/>
                <pc:sldMk cId="1073847132" sldId="304"/>
                <pc2:cmMk id="{FA6C1B7B-3113-48F4-BB66-4B03C3199CDE}"/>
              </pc2:cmMkLst>
            </pc226:cmChg>
            <pc226:cmChg xmlns:pc226="http://schemas.microsoft.com/office/powerpoint/2022/06/main/command" chg="mod">
              <pc226:chgData name="Muffoletto, Jamie" userId="daf1e3c6-8137-448a-b141-d23049d419b5" providerId="ADAL" clId="{DDE82D7E-8C57-4757-859B-4947FB684CA1}" dt="2025-07-24T15:26:11.583" v="1635" actId="20577"/>
              <pc2:cmMkLst xmlns:pc2="http://schemas.microsoft.com/office/powerpoint/2019/9/main/command">
                <pc:docMk/>
                <pc:sldMk cId="1073847132" sldId="304"/>
                <pc2:cmMk id="{C10E9FC4-7747-4A4F-9F69-814B7F157054}"/>
              </pc2:cmMkLst>
            </pc226:cmChg>
          </p:ext>
        </pc:extLst>
      </pc:sldChg>
      <pc:sldChg chg="modSp mod modCm">
        <pc:chgData name="Muffoletto, Jamie" userId="daf1e3c6-8137-448a-b141-d23049d419b5" providerId="ADAL" clId="{DDE82D7E-8C57-4757-859B-4947FB684CA1}" dt="2025-07-24T15:44:48.579" v="1636" actId="6549"/>
        <pc:sldMkLst>
          <pc:docMk/>
          <pc:sldMk cId="1581999935" sldId="312"/>
        </pc:sldMkLst>
        <pc:spChg chg="mod">
          <ac:chgData name="Muffoletto, Jamie" userId="daf1e3c6-8137-448a-b141-d23049d419b5" providerId="ADAL" clId="{DDE82D7E-8C57-4757-859B-4947FB684CA1}" dt="2025-07-24T15:44:48.579" v="1636" actId="6549"/>
          <ac:spMkLst>
            <pc:docMk/>
            <pc:sldMk cId="1581999935" sldId="312"/>
            <ac:spMk id="7" creationId="{1902071B-2B55-A5FF-BC66-9AF383259740}"/>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44:48.579" v="1636" actId="6549"/>
              <pc2:cmMkLst xmlns:pc2="http://schemas.microsoft.com/office/powerpoint/2019/9/main/command">
                <pc:docMk/>
                <pc:sldMk cId="1581999935" sldId="312"/>
                <pc2:cmMk id="{2B625660-D4EF-45C7-9920-3BEC448FAB8A}"/>
              </pc2:cmMkLst>
            </pc226:cmChg>
            <pc226:cmChg xmlns:pc226="http://schemas.microsoft.com/office/powerpoint/2022/06/main/command" chg="mod">
              <pc226:chgData name="Muffoletto, Jamie" userId="daf1e3c6-8137-448a-b141-d23049d419b5" providerId="ADAL" clId="{DDE82D7E-8C57-4757-859B-4947FB684CA1}" dt="2025-07-24T15:44:48.579" v="1636" actId="6549"/>
              <pc2:cmMkLst xmlns:pc2="http://schemas.microsoft.com/office/powerpoint/2019/9/main/command">
                <pc:docMk/>
                <pc:sldMk cId="1581999935" sldId="312"/>
                <pc2:cmMk id="{6A5F09B3-B501-469A-A540-EED4DEF60A4B}"/>
              </pc2:cmMkLst>
            </pc226:cmChg>
          </p:ext>
        </pc:extLst>
      </pc:sldChg>
      <pc:sldChg chg="addSp modSp add mod">
        <pc:chgData name="Muffoletto, Jamie" userId="daf1e3c6-8137-448a-b141-d23049d419b5" providerId="ADAL" clId="{DDE82D7E-8C57-4757-859B-4947FB684CA1}" dt="2025-07-24T17:51:30.279" v="2853" actId="13244"/>
        <pc:sldMkLst>
          <pc:docMk/>
          <pc:sldMk cId="2518420316" sldId="315"/>
        </pc:sldMkLst>
        <pc:spChg chg="add mod">
          <ac:chgData name="Muffoletto, Jamie" userId="daf1e3c6-8137-448a-b141-d23049d419b5" providerId="ADAL" clId="{DDE82D7E-8C57-4757-859B-4947FB684CA1}" dt="2025-07-21T00:50:56.267" v="194" actId="20577"/>
          <ac:spMkLst>
            <pc:docMk/>
            <pc:sldMk cId="2518420316" sldId="315"/>
            <ac:spMk id="2" creationId="{B98EC0DE-7B4C-2A9C-0365-4CC752B3F059}"/>
          </ac:spMkLst>
        </pc:spChg>
        <pc:spChg chg="ord">
          <ac:chgData name="Muffoletto, Jamie" userId="daf1e3c6-8137-448a-b141-d23049d419b5" providerId="ADAL" clId="{DDE82D7E-8C57-4757-859B-4947FB684CA1}" dt="2025-07-24T17:51:30.279" v="2853" actId="13244"/>
          <ac:spMkLst>
            <pc:docMk/>
            <pc:sldMk cId="2518420316" sldId="315"/>
            <ac:spMk id="4" creationId="{82575273-6641-5B15-585A-DE352769618A}"/>
          </ac:spMkLst>
        </pc:spChg>
      </pc:sldChg>
      <pc:sldChg chg="del">
        <pc:chgData name="Muffoletto, Jamie" userId="daf1e3c6-8137-448a-b141-d23049d419b5" providerId="ADAL" clId="{DDE82D7E-8C57-4757-859B-4947FB684CA1}" dt="2025-07-21T00:49:28.189" v="4" actId="2696"/>
        <pc:sldMkLst>
          <pc:docMk/>
          <pc:sldMk cId="3625351715" sldId="315"/>
        </pc:sldMkLst>
      </pc:sldChg>
      <pc:sldChg chg="modSp mod modCm">
        <pc:chgData name="Muffoletto, Jamie" userId="daf1e3c6-8137-448a-b141-d23049d419b5" providerId="ADAL" clId="{DDE82D7E-8C57-4757-859B-4947FB684CA1}" dt="2025-07-24T11:26:40.923" v="1148" actId="20577"/>
        <pc:sldMkLst>
          <pc:docMk/>
          <pc:sldMk cId="319113151" sldId="317"/>
        </pc:sldMkLst>
        <pc:spChg chg="mod">
          <ac:chgData name="Muffoletto, Jamie" userId="daf1e3c6-8137-448a-b141-d23049d419b5" providerId="ADAL" clId="{DDE82D7E-8C57-4757-859B-4947FB684CA1}" dt="2025-07-24T11:26:40.923" v="1148" actId="20577"/>
          <ac:spMkLst>
            <pc:docMk/>
            <pc:sldMk cId="319113151" sldId="317"/>
            <ac:spMk id="6" creationId="{6B72A0C4-CA79-E863-8842-3F6A627EEA8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26:40.923" v="1148" actId="20577"/>
              <pc2:cmMkLst xmlns:pc2="http://schemas.microsoft.com/office/powerpoint/2019/9/main/command">
                <pc:docMk/>
                <pc:sldMk cId="319113151" sldId="317"/>
                <pc2:cmMk id="{68DC563C-5370-4486-B01D-7FE1EF072D49}"/>
              </pc2:cmMkLst>
            </pc226:cmChg>
          </p:ext>
        </pc:extLst>
      </pc:sldChg>
      <pc:sldChg chg="modSp mod modCm">
        <pc:chgData name="Muffoletto, Jamie" userId="daf1e3c6-8137-448a-b141-d23049d419b5" providerId="ADAL" clId="{DDE82D7E-8C57-4757-859B-4947FB684CA1}" dt="2025-07-24T11:40:44.664" v="1609" actId="6549"/>
        <pc:sldMkLst>
          <pc:docMk/>
          <pc:sldMk cId="3199652527" sldId="318"/>
        </pc:sldMkLst>
        <pc:spChg chg="mod">
          <ac:chgData name="Muffoletto, Jamie" userId="daf1e3c6-8137-448a-b141-d23049d419b5" providerId="ADAL" clId="{DDE82D7E-8C57-4757-859B-4947FB684CA1}" dt="2025-07-24T11:40:44.664" v="1609" actId="6549"/>
          <ac:spMkLst>
            <pc:docMk/>
            <pc:sldMk cId="3199652527" sldId="318"/>
            <ac:spMk id="2" creationId="{46A862BB-357D-0773-B169-A9ED5A15520D}"/>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40:44.664" v="1609" actId="6549"/>
              <pc2:cmMkLst xmlns:pc2="http://schemas.microsoft.com/office/powerpoint/2019/9/main/command">
                <pc:docMk/>
                <pc:sldMk cId="3199652527" sldId="318"/>
                <pc2:cmMk id="{C37F6ADF-BA56-4897-8205-F9C9064492D1}"/>
              </pc2:cmMkLst>
            </pc226:cmChg>
          </p:ext>
        </pc:extLst>
      </pc:sldChg>
      <pc:sldChg chg="modSp mod modCm">
        <pc:chgData name="Muffoletto, Jamie" userId="daf1e3c6-8137-448a-b141-d23049d419b5" providerId="ADAL" clId="{DDE82D7E-8C57-4757-859B-4947FB684CA1}" dt="2025-07-24T11:39:26.699" v="1541" actId="20577"/>
        <pc:sldMkLst>
          <pc:docMk/>
          <pc:sldMk cId="614724895" sldId="321"/>
        </pc:sldMkLst>
        <pc:spChg chg="mod">
          <ac:chgData name="Muffoletto, Jamie" userId="daf1e3c6-8137-448a-b141-d23049d419b5" providerId="ADAL" clId="{DDE82D7E-8C57-4757-859B-4947FB684CA1}" dt="2025-07-24T11:39:26.699" v="1541" actId="20577"/>
          <ac:spMkLst>
            <pc:docMk/>
            <pc:sldMk cId="614724895" sldId="321"/>
            <ac:spMk id="6" creationId="{2DD62FAE-E8AC-8CB2-98C3-C84E9BB94696}"/>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9:26.699" v="1541" actId="20577"/>
              <pc2:cmMkLst xmlns:pc2="http://schemas.microsoft.com/office/powerpoint/2019/9/main/command">
                <pc:docMk/>
                <pc:sldMk cId="614724895" sldId="321"/>
                <pc2:cmMk id="{227C6984-F3BA-4C8F-84AA-337355D0DE1D}"/>
              </pc2:cmMkLst>
            </pc226:cmChg>
          </p:ext>
        </pc:extLst>
      </pc:sldChg>
      <pc:sldChg chg="modSp mod modCm">
        <pc:chgData name="Muffoletto, Jamie" userId="daf1e3c6-8137-448a-b141-d23049d419b5" providerId="ADAL" clId="{DDE82D7E-8C57-4757-859B-4947FB684CA1}" dt="2025-07-24T11:37:27.310" v="1517" actId="20577"/>
        <pc:sldMkLst>
          <pc:docMk/>
          <pc:sldMk cId="281050586" sldId="324"/>
        </pc:sldMkLst>
        <pc:spChg chg="mod">
          <ac:chgData name="Muffoletto, Jamie" userId="daf1e3c6-8137-448a-b141-d23049d419b5" providerId="ADAL" clId="{DDE82D7E-8C57-4757-859B-4947FB684CA1}" dt="2025-07-24T11:37:27.310" v="1517" actId="20577"/>
          <ac:spMkLst>
            <pc:docMk/>
            <pc:sldMk cId="281050586" sldId="324"/>
            <ac:spMk id="2" creationId="{61D3222A-9878-F2CD-A1F0-DE2B4F518112}"/>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7:27.310" v="1517" actId="20577"/>
              <pc2:cmMkLst xmlns:pc2="http://schemas.microsoft.com/office/powerpoint/2019/9/main/command">
                <pc:docMk/>
                <pc:sldMk cId="281050586" sldId="324"/>
                <pc2:cmMk id="{9ED8F34D-0C1E-4102-AADB-A1B80D833BDF}"/>
              </pc2:cmMkLst>
            </pc226:cmChg>
          </p:ext>
        </pc:extLst>
      </pc:sldChg>
      <pc:sldChg chg="modSp mod modCm">
        <pc:chgData name="Muffoletto, Jamie" userId="daf1e3c6-8137-448a-b141-d23049d419b5" providerId="ADAL" clId="{DDE82D7E-8C57-4757-859B-4947FB684CA1}" dt="2025-07-24T11:37:05.372" v="1502" actId="6549"/>
        <pc:sldMkLst>
          <pc:docMk/>
          <pc:sldMk cId="1724220764" sldId="326"/>
        </pc:sldMkLst>
        <pc:spChg chg="mod">
          <ac:chgData name="Muffoletto, Jamie" userId="daf1e3c6-8137-448a-b141-d23049d419b5" providerId="ADAL" clId="{DDE82D7E-8C57-4757-859B-4947FB684CA1}" dt="2025-07-24T11:37:05.372" v="1502" actId="6549"/>
          <ac:spMkLst>
            <pc:docMk/>
            <pc:sldMk cId="1724220764" sldId="326"/>
            <ac:spMk id="2" creationId="{9ED90D35-81A6-F97B-4338-6E6867D0B1CA}"/>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37:05.372" v="1502" actId="6549"/>
              <pc2:cmMkLst xmlns:pc2="http://schemas.microsoft.com/office/powerpoint/2019/9/main/command">
                <pc:docMk/>
                <pc:sldMk cId="1724220764" sldId="326"/>
                <pc2:cmMk id="{AAD67772-75E1-4C75-B5FB-36A1ECB00FF9}"/>
              </pc2:cmMkLst>
            </pc226:cmChg>
          </p:ext>
        </pc:extLst>
      </pc:sldChg>
      <pc:sldChg chg="modSp mod">
        <pc:chgData name="Muffoletto, Jamie" userId="daf1e3c6-8137-448a-b141-d23049d419b5" providerId="ADAL" clId="{DDE82D7E-8C57-4757-859B-4947FB684CA1}" dt="2025-07-24T11:36:45.395" v="1501" actId="207"/>
        <pc:sldMkLst>
          <pc:docMk/>
          <pc:sldMk cId="1389815496" sldId="327"/>
        </pc:sldMkLst>
        <pc:spChg chg="mod">
          <ac:chgData name="Muffoletto, Jamie" userId="daf1e3c6-8137-448a-b141-d23049d419b5" providerId="ADAL" clId="{DDE82D7E-8C57-4757-859B-4947FB684CA1}" dt="2025-07-24T11:36:45.395" v="1501" actId="207"/>
          <ac:spMkLst>
            <pc:docMk/>
            <pc:sldMk cId="1389815496" sldId="327"/>
            <ac:spMk id="6" creationId="{DB01036A-F789-D1A0-5232-2A6793282EE9}"/>
          </ac:spMkLst>
        </pc:spChg>
      </pc:sldChg>
      <pc:sldChg chg="modSp mod">
        <pc:chgData name="Muffoletto, Jamie" userId="daf1e3c6-8137-448a-b141-d23049d419b5" providerId="ADAL" clId="{DDE82D7E-8C57-4757-859B-4947FB684CA1}" dt="2025-07-24T17:45:40.178" v="2852" actId="20577"/>
        <pc:sldMkLst>
          <pc:docMk/>
          <pc:sldMk cId="1142516483" sldId="328"/>
        </pc:sldMkLst>
        <pc:spChg chg="mod">
          <ac:chgData name="Muffoletto, Jamie" userId="daf1e3c6-8137-448a-b141-d23049d419b5" providerId="ADAL" clId="{DDE82D7E-8C57-4757-859B-4947FB684CA1}" dt="2025-07-24T17:45:40.178" v="2852" actId="20577"/>
          <ac:spMkLst>
            <pc:docMk/>
            <pc:sldMk cId="1142516483" sldId="328"/>
            <ac:spMk id="5" creationId="{6DBEDCE6-A0EA-312C-F8E4-2C6C9CBE90E0}"/>
          </ac:spMkLst>
        </pc:spChg>
      </pc:sldChg>
      <pc:sldChg chg="del">
        <pc:chgData name="Muffoletto, Jamie" userId="daf1e3c6-8137-448a-b141-d23049d419b5" providerId="ADAL" clId="{DDE82D7E-8C57-4757-859B-4947FB684CA1}" dt="2025-07-20T20:35:04.993" v="1" actId="47"/>
        <pc:sldMkLst>
          <pc:docMk/>
          <pc:sldMk cId="13793301" sldId="329"/>
        </pc:sldMkLst>
      </pc:sldChg>
      <pc:sldChg chg="modSp mod">
        <pc:chgData name="Muffoletto, Jamie" userId="daf1e3c6-8137-448a-b141-d23049d419b5" providerId="ADAL" clId="{DDE82D7E-8C57-4757-859B-4947FB684CA1}" dt="2025-07-24T11:18:41.122" v="930" actId="5793"/>
        <pc:sldMkLst>
          <pc:docMk/>
          <pc:sldMk cId="2054112054" sldId="331"/>
        </pc:sldMkLst>
        <pc:spChg chg="mod">
          <ac:chgData name="Muffoletto, Jamie" userId="daf1e3c6-8137-448a-b141-d23049d419b5" providerId="ADAL" clId="{DDE82D7E-8C57-4757-859B-4947FB684CA1}" dt="2025-07-24T11:18:41.122" v="930" actId="5793"/>
          <ac:spMkLst>
            <pc:docMk/>
            <pc:sldMk cId="2054112054" sldId="331"/>
            <ac:spMk id="6" creationId="{A92376EF-DE3C-87A4-E3D7-82123679DF6F}"/>
          </ac:spMkLst>
        </pc:spChg>
      </pc:sldChg>
      <pc:sldChg chg="modSp mod">
        <pc:chgData name="Muffoletto, Jamie" userId="daf1e3c6-8137-448a-b141-d23049d419b5" providerId="ADAL" clId="{DDE82D7E-8C57-4757-859B-4947FB684CA1}" dt="2025-07-24T11:18:53.695" v="933" actId="5793"/>
        <pc:sldMkLst>
          <pc:docMk/>
          <pc:sldMk cId="265141631" sldId="333"/>
        </pc:sldMkLst>
        <pc:spChg chg="mod">
          <ac:chgData name="Muffoletto, Jamie" userId="daf1e3c6-8137-448a-b141-d23049d419b5" providerId="ADAL" clId="{DDE82D7E-8C57-4757-859B-4947FB684CA1}" dt="2025-07-24T11:18:53.695" v="933" actId="5793"/>
          <ac:spMkLst>
            <pc:docMk/>
            <pc:sldMk cId="265141631" sldId="333"/>
            <ac:spMk id="8" creationId="{AC7F9E5F-554F-6CE6-2AC9-7BE575A1C629}"/>
          </ac:spMkLst>
        </pc:spChg>
      </pc:sldChg>
      <pc:sldChg chg="modSp mod">
        <pc:chgData name="Muffoletto, Jamie" userId="daf1e3c6-8137-448a-b141-d23049d419b5" providerId="ADAL" clId="{DDE82D7E-8C57-4757-859B-4947FB684CA1}" dt="2025-07-24T11:19:01.124" v="936" actId="5793"/>
        <pc:sldMkLst>
          <pc:docMk/>
          <pc:sldMk cId="1532277744" sldId="334"/>
        </pc:sldMkLst>
        <pc:spChg chg="mod">
          <ac:chgData name="Muffoletto, Jamie" userId="daf1e3c6-8137-448a-b141-d23049d419b5" providerId="ADAL" clId="{DDE82D7E-8C57-4757-859B-4947FB684CA1}" dt="2025-07-24T11:19:01.124" v="936" actId="5793"/>
          <ac:spMkLst>
            <pc:docMk/>
            <pc:sldMk cId="1532277744" sldId="334"/>
            <ac:spMk id="7" creationId="{6DDD5D5C-FAE0-E947-A844-24A161BF4ACD}"/>
          </ac:spMkLst>
        </pc:spChg>
      </pc:sldChg>
      <pc:sldChg chg="modSp mod">
        <pc:chgData name="Muffoletto, Jamie" userId="daf1e3c6-8137-448a-b141-d23049d419b5" providerId="ADAL" clId="{DDE82D7E-8C57-4757-859B-4947FB684CA1}" dt="2025-07-24T11:19:08.132" v="939" actId="5793"/>
        <pc:sldMkLst>
          <pc:docMk/>
          <pc:sldMk cId="3650857004" sldId="335"/>
        </pc:sldMkLst>
        <pc:spChg chg="mod">
          <ac:chgData name="Muffoletto, Jamie" userId="daf1e3c6-8137-448a-b141-d23049d419b5" providerId="ADAL" clId="{DDE82D7E-8C57-4757-859B-4947FB684CA1}" dt="2025-07-24T11:19:08.132" v="939" actId="5793"/>
          <ac:spMkLst>
            <pc:docMk/>
            <pc:sldMk cId="3650857004" sldId="335"/>
            <ac:spMk id="7" creationId="{5BA04BEF-5D05-53A1-7899-49161A9B9569}"/>
          </ac:spMkLst>
        </pc:spChg>
      </pc:sldChg>
      <pc:sldChg chg="modSp mod">
        <pc:chgData name="Muffoletto, Jamie" userId="daf1e3c6-8137-448a-b141-d23049d419b5" providerId="ADAL" clId="{DDE82D7E-8C57-4757-859B-4947FB684CA1}" dt="2025-07-24T17:08:01.321" v="2837" actId="20577"/>
        <pc:sldMkLst>
          <pc:docMk/>
          <pc:sldMk cId="2497658441" sldId="336"/>
        </pc:sldMkLst>
        <pc:spChg chg="mod">
          <ac:chgData name="Muffoletto, Jamie" userId="daf1e3c6-8137-448a-b141-d23049d419b5" providerId="ADAL" clId="{DDE82D7E-8C57-4757-859B-4947FB684CA1}" dt="2025-07-24T11:19:19.933" v="942" actId="5793"/>
          <ac:spMkLst>
            <pc:docMk/>
            <pc:sldMk cId="2497658441" sldId="336"/>
            <ac:spMk id="7" creationId="{3437B0B5-8156-9DF1-8FA5-AB2AC5B85891}"/>
          </ac:spMkLst>
        </pc:spChg>
        <pc:spChg chg="mod">
          <ac:chgData name="Muffoletto, Jamie" userId="daf1e3c6-8137-448a-b141-d23049d419b5" providerId="ADAL" clId="{DDE82D7E-8C57-4757-859B-4947FB684CA1}" dt="2025-07-24T17:08:01.321" v="2837" actId="20577"/>
          <ac:spMkLst>
            <pc:docMk/>
            <pc:sldMk cId="2497658441" sldId="336"/>
            <ac:spMk id="8" creationId="{5B32A6D3-F312-6B18-C165-B492A9B77BE5}"/>
          </ac:spMkLst>
        </pc:spChg>
      </pc:sldChg>
      <pc:sldChg chg="modSp mod">
        <pc:chgData name="Muffoletto, Jamie" userId="daf1e3c6-8137-448a-b141-d23049d419b5" providerId="ADAL" clId="{DDE82D7E-8C57-4757-859B-4947FB684CA1}" dt="2025-07-24T11:20:57.243" v="945" actId="5793"/>
        <pc:sldMkLst>
          <pc:docMk/>
          <pc:sldMk cId="4031189763" sldId="337"/>
        </pc:sldMkLst>
        <pc:spChg chg="mod">
          <ac:chgData name="Muffoletto, Jamie" userId="daf1e3c6-8137-448a-b141-d23049d419b5" providerId="ADAL" clId="{DDE82D7E-8C57-4757-859B-4947FB684CA1}" dt="2025-07-24T11:20:57.243" v="945" actId="5793"/>
          <ac:spMkLst>
            <pc:docMk/>
            <pc:sldMk cId="4031189763" sldId="337"/>
            <ac:spMk id="7" creationId="{2958D567-E385-D86B-8FFD-8653DC09F04F}"/>
          </ac:spMkLst>
        </pc:spChg>
      </pc:sldChg>
      <pc:sldChg chg="modSp mod">
        <pc:chgData name="Muffoletto, Jamie" userId="daf1e3c6-8137-448a-b141-d23049d419b5" providerId="ADAL" clId="{DDE82D7E-8C57-4757-859B-4947FB684CA1}" dt="2025-07-24T11:41:24.604" v="1627" actId="20577"/>
        <pc:sldMkLst>
          <pc:docMk/>
          <pc:sldMk cId="1577138821" sldId="338"/>
        </pc:sldMkLst>
        <pc:spChg chg="mod">
          <ac:chgData name="Muffoletto, Jamie" userId="daf1e3c6-8137-448a-b141-d23049d419b5" providerId="ADAL" clId="{DDE82D7E-8C57-4757-859B-4947FB684CA1}" dt="2025-07-24T11:32:24.012" v="1441" actId="20577"/>
          <ac:spMkLst>
            <pc:docMk/>
            <pc:sldMk cId="1577138821" sldId="338"/>
            <ac:spMk id="7" creationId="{82314D48-196C-D710-3ACE-23B8EAAC13D1}"/>
          </ac:spMkLst>
        </pc:spChg>
        <pc:spChg chg="mod">
          <ac:chgData name="Muffoletto, Jamie" userId="daf1e3c6-8137-448a-b141-d23049d419b5" providerId="ADAL" clId="{DDE82D7E-8C57-4757-859B-4947FB684CA1}" dt="2025-07-24T11:41:24.604" v="1627" actId="20577"/>
          <ac:spMkLst>
            <pc:docMk/>
            <pc:sldMk cId="1577138821" sldId="338"/>
            <ac:spMk id="8" creationId="{4C9F4EDA-E02B-C509-8F12-CEFD086D5C01}"/>
          </ac:spMkLst>
        </pc:spChg>
      </pc:sldChg>
      <pc:sldChg chg="add del">
        <pc:chgData name="Muffoletto, Jamie" userId="daf1e3c6-8137-448a-b141-d23049d419b5" providerId="ADAL" clId="{DDE82D7E-8C57-4757-859B-4947FB684CA1}" dt="2025-07-21T00:51:00.398" v="195" actId="47"/>
        <pc:sldMkLst>
          <pc:docMk/>
          <pc:sldMk cId="819727446" sldId="339"/>
        </pc:sldMkLst>
      </pc:sldChg>
      <pc:sldChg chg="del">
        <pc:chgData name="Muffoletto, Jamie" userId="daf1e3c6-8137-448a-b141-d23049d419b5" providerId="ADAL" clId="{DDE82D7E-8C57-4757-859B-4947FB684CA1}" dt="2025-07-21T00:49:28.189" v="4" actId="2696"/>
        <pc:sldMkLst>
          <pc:docMk/>
          <pc:sldMk cId="1288000117" sldId="339"/>
        </pc:sldMkLst>
      </pc:sldChg>
      <pc:sldChg chg="modSp mod modCm">
        <pc:chgData name="Muffoletto, Jamie" userId="daf1e3c6-8137-448a-b141-d23049d419b5" providerId="ADAL" clId="{DDE82D7E-8C57-4757-859B-4947FB684CA1}" dt="2025-07-24T11:17:28.642" v="924" actId="20577"/>
        <pc:sldMkLst>
          <pc:docMk/>
          <pc:sldMk cId="1137578800" sldId="340"/>
        </pc:sldMkLst>
        <pc:spChg chg="mod">
          <ac:chgData name="Muffoletto, Jamie" userId="daf1e3c6-8137-448a-b141-d23049d419b5" providerId="ADAL" clId="{DDE82D7E-8C57-4757-859B-4947FB684CA1}" dt="2025-07-24T11:17:28.642" v="924" actId="20577"/>
          <ac:spMkLst>
            <pc:docMk/>
            <pc:sldMk cId="1137578800" sldId="340"/>
            <ac:spMk id="8" creationId="{DE0B8E90-5DE3-232F-9562-E98700D7573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1:17:28.642" v="924" actId="20577"/>
              <pc2:cmMkLst xmlns:pc2="http://schemas.microsoft.com/office/powerpoint/2019/9/main/command">
                <pc:docMk/>
                <pc:sldMk cId="1137578800" sldId="340"/>
                <pc2:cmMk id="{406F124A-0C4D-49F5-9694-4E6C52CA5B3F}"/>
              </pc2:cmMkLst>
            </pc226:cmChg>
          </p:ext>
        </pc:extLst>
      </pc:sldChg>
      <pc:sldChg chg="modSp mod">
        <pc:chgData name="Muffoletto, Jamie" userId="daf1e3c6-8137-448a-b141-d23049d419b5" providerId="ADAL" clId="{DDE82D7E-8C57-4757-859B-4947FB684CA1}" dt="2025-07-24T11:21:20.485" v="953" actId="5793"/>
        <pc:sldMkLst>
          <pc:docMk/>
          <pc:sldMk cId="3717530964" sldId="342"/>
        </pc:sldMkLst>
        <pc:spChg chg="mod">
          <ac:chgData name="Muffoletto, Jamie" userId="daf1e3c6-8137-448a-b141-d23049d419b5" providerId="ADAL" clId="{DDE82D7E-8C57-4757-859B-4947FB684CA1}" dt="2025-07-24T11:21:20.485" v="953" actId="5793"/>
          <ac:spMkLst>
            <pc:docMk/>
            <pc:sldMk cId="3717530964" sldId="342"/>
            <ac:spMk id="7" creationId="{E82744F0-DCEB-6DB2-2F2B-6A20276FC5BB}"/>
          </ac:spMkLst>
        </pc:spChg>
      </pc:sldChg>
      <pc:sldChg chg="modSp mod">
        <pc:chgData name="Muffoletto, Jamie" userId="daf1e3c6-8137-448a-b141-d23049d419b5" providerId="ADAL" clId="{DDE82D7E-8C57-4757-859B-4947FB684CA1}" dt="2025-07-24T11:22:01.890" v="959" actId="5793"/>
        <pc:sldMkLst>
          <pc:docMk/>
          <pc:sldMk cId="4187050856" sldId="343"/>
        </pc:sldMkLst>
        <pc:spChg chg="mod">
          <ac:chgData name="Muffoletto, Jamie" userId="daf1e3c6-8137-448a-b141-d23049d419b5" providerId="ADAL" clId="{DDE82D7E-8C57-4757-859B-4947FB684CA1}" dt="2025-07-24T11:22:01.890" v="959" actId="5793"/>
          <ac:spMkLst>
            <pc:docMk/>
            <pc:sldMk cId="4187050856" sldId="343"/>
            <ac:spMk id="7" creationId="{66557640-DBE5-2C44-325B-27336FA62423}"/>
          </ac:spMkLst>
        </pc:spChg>
      </pc:sldChg>
      <pc:sldChg chg="modSp mod">
        <pc:chgData name="Muffoletto, Jamie" userId="daf1e3c6-8137-448a-b141-d23049d419b5" providerId="ADAL" clId="{DDE82D7E-8C57-4757-859B-4947FB684CA1}" dt="2025-07-24T11:41:13.711" v="1618" actId="20577"/>
        <pc:sldMkLst>
          <pc:docMk/>
          <pc:sldMk cId="1479616428" sldId="344"/>
        </pc:sldMkLst>
        <pc:spChg chg="mod">
          <ac:chgData name="Muffoletto, Jamie" userId="daf1e3c6-8137-448a-b141-d23049d419b5" providerId="ADAL" clId="{DDE82D7E-8C57-4757-859B-4947FB684CA1}" dt="2025-07-24T11:24:34.224" v="1063" actId="5793"/>
          <ac:spMkLst>
            <pc:docMk/>
            <pc:sldMk cId="1479616428" sldId="344"/>
            <ac:spMk id="7" creationId="{779E54CA-A60A-03EB-AE9A-A7837FCC7070}"/>
          </ac:spMkLst>
        </pc:spChg>
        <pc:spChg chg="mod">
          <ac:chgData name="Muffoletto, Jamie" userId="daf1e3c6-8137-448a-b141-d23049d419b5" providerId="ADAL" clId="{DDE82D7E-8C57-4757-859B-4947FB684CA1}" dt="2025-07-24T11:41:13.711" v="1618" actId="20577"/>
          <ac:spMkLst>
            <pc:docMk/>
            <pc:sldMk cId="1479616428" sldId="344"/>
            <ac:spMk id="8" creationId="{335F7D1B-31DA-8174-00A3-5911E2113B9C}"/>
          </ac:spMkLst>
        </pc:spChg>
      </pc:sldChg>
      <pc:sldChg chg="modSp mod">
        <pc:chgData name="Muffoletto, Jamie" userId="daf1e3c6-8137-448a-b141-d23049d419b5" providerId="ADAL" clId="{DDE82D7E-8C57-4757-859B-4947FB684CA1}" dt="2025-07-24T11:22:20.483" v="966" actId="6549"/>
        <pc:sldMkLst>
          <pc:docMk/>
          <pc:sldMk cId="3065251748" sldId="345"/>
        </pc:sldMkLst>
        <pc:spChg chg="mod">
          <ac:chgData name="Muffoletto, Jamie" userId="daf1e3c6-8137-448a-b141-d23049d419b5" providerId="ADAL" clId="{DDE82D7E-8C57-4757-859B-4947FB684CA1}" dt="2025-07-24T11:22:20.483" v="966" actId="6549"/>
          <ac:spMkLst>
            <pc:docMk/>
            <pc:sldMk cId="3065251748" sldId="345"/>
            <ac:spMk id="7" creationId="{849540B8-640D-5B62-F395-1D843B26D959}"/>
          </ac:spMkLst>
        </pc:spChg>
      </pc:sldChg>
      <pc:sldChg chg="modSp mod modCm">
        <pc:chgData name="Muffoletto, Jamie" userId="daf1e3c6-8137-448a-b141-d23049d419b5" providerId="ADAL" clId="{DDE82D7E-8C57-4757-859B-4947FB684CA1}" dt="2025-07-23T22:08:52.384" v="686" actId="20577"/>
        <pc:sldMkLst>
          <pc:docMk/>
          <pc:sldMk cId="4054429543" sldId="346"/>
        </pc:sldMkLst>
        <pc:spChg chg="mod">
          <ac:chgData name="Muffoletto, Jamie" userId="daf1e3c6-8137-448a-b141-d23049d419b5" providerId="ADAL" clId="{DDE82D7E-8C57-4757-859B-4947FB684CA1}" dt="2025-07-23T22:08:52.384" v="686" actId="20577"/>
          <ac:spMkLst>
            <pc:docMk/>
            <pc:sldMk cId="4054429543" sldId="346"/>
            <ac:spMk id="3" creationId="{686FEBA5-3324-183D-04E9-B1613F0A6238}"/>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3T22:08:52.384" v="686" actId="20577"/>
              <pc2:cmMkLst xmlns:pc2="http://schemas.microsoft.com/office/powerpoint/2019/9/main/command">
                <pc:docMk/>
                <pc:sldMk cId="4054429543" sldId="346"/>
                <pc2:cmMk id="{821979BA-0AF8-42A5-B98E-C8202B264045}"/>
              </pc2:cmMkLst>
            </pc226:cmChg>
          </p:ext>
        </pc:extLst>
      </pc:sldChg>
      <pc:sldChg chg="modSp mod">
        <pc:chgData name="Muffoletto, Jamie" userId="daf1e3c6-8137-448a-b141-d23049d419b5" providerId="ADAL" clId="{DDE82D7E-8C57-4757-859B-4947FB684CA1}" dt="2025-07-24T11:36:25.507" v="1489" actId="207"/>
        <pc:sldMkLst>
          <pc:docMk/>
          <pc:sldMk cId="2696003594" sldId="347"/>
        </pc:sldMkLst>
        <pc:spChg chg="mod">
          <ac:chgData name="Muffoletto, Jamie" userId="daf1e3c6-8137-448a-b141-d23049d419b5" providerId="ADAL" clId="{DDE82D7E-8C57-4757-859B-4947FB684CA1}" dt="2025-07-23T15:17:18.286" v="492" actId="20577"/>
          <ac:spMkLst>
            <pc:docMk/>
            <pc:sldMk cId="2696003594" sldId="347"/>
            <ac:spMk id="2" creationId="{A169AE35-9AA7-79D4-8F82-339994C44618}"/>
          </ac:spMkLst>
        </pc:spChg>
        <pc:spChg chg="mod">
          <ac:chgData name="Muffoletto, Jamie" userId="daf1e3c6-8137-448a-b141-d23049d419b5" providerId="ADAL" clId="{DDE82D7E-8C57-4757-859B-4947FB684CA1}" dt="2025-07-24T11:36:25.507" v="1489" actId="207"/>
          <ac:spMkLst>
            <pc:docMk/>
            <pc:sldMk cId="2696003594" sldId="347"/>
            <ac:spMk id="6" creationId="{6BB5A350-111B-7786-4F59-B2282FB5113F}"/>
          </ac:spMkLst>
        </pc:spChg>
      </pc:sldChg>
      <pc:sldChg chg="modSp mod modCm">
        <pc:chgData name="Muffoletto, Jamie" userId="daf1e3c6-8137-448a-b141-d23049d419b5" providerId="ADAL" clId="{DDE82D7E-8C57-4757-859B-4947FB684CA1}" dt="2025-07-24T15:59:29.053" v="2158" actId="6549"/>
        <pc:sldMkLst>
          <pc:docMk/>
          <pc:sldMk cId="2117145295" sldId="348"/>
        </pc:sldMkLst>
        <pc:spChg chg="mod">
          <ac:chgData name="Muffoletto, Jamie" userId="daf1e3c6-8137-448a-b141-d23049d419b5" providerId="ADAL" clId="{DDE82D7E-8C57-4757-859B-4947FB684CA1}" dt="2025-07-24T15:59:29.053" v="2158" actId="6549"/>
          <ac:spMkLst>
            <pc:docMk/>
            <pc:sldMk cId="2117145295" sldId="348"/>
            <ac:spMk id="2" creationId="{DBDB683F-2F14-B0D0-93A5-7A6F5F118931}"/>
          </ac:spMkLst>
        </pc:spChg>
        <pc:spChg chg="mod">
          <ac:chgData name="Muffoletto, Jamie" userId="daf1e3c6-8137-448a-b141-d23049d419b5" providerId="ADAL" clId="{DDE82D7E-8C57-4757-859B-4947FB684CA1}" dt="2025-07-24T15:58:52.597" v="2120" actId="20577"/>
          <ac:spMkLst>
            <pc:docMk/>
            <pc:sldMk cId="2117145295" sldId="348"/>
            <ac:spMk id="5" creationId="{EDCC938C-C71C-014F-B3AB-CD4D8B9C3DBD}"/>
          </ac:spMkLst>
        </pc:spChg>
        <pc:spChg chg="mod">
          <ac:chgData name="Muffoletto, Jamie" userId="daf1e3c6-8137-448a-b141-d23049d419b5" providerId="ADAL" clId="{DDE82D7E-8C57-4757-859B-4947FB684CA1}" dt="2025-07-24T15:59:22.348" v="2157" actId="403"/>
          <ac:spMkLst>
            <pc:docMk/>
            <pc:sldMk cId="2117145295" sldId="348"/>
            <ac:spMk id="6" creationId="{45A9ED55-5841-64CD-AE88-AC43F634DB25}"/>
          </ac:spMkLst>
        </pc:spChg>
        <pc:extLst>
          <p:ext xmlns:p="http://schemas.openxmlformats.org/presentationml/2006/main" uri="{D6D511B9-2390-475A-947B-AFAB55BFBCF1}">
            <pc226:cmChg xmlns:pc226="http://schemas.microsoft.com/office/powerpoint/2022/06/main/command" chg="mod">
              <pc226:chgData name="Muffoletto, Jamie" userId="daf1e3c6-8137-448a-b141-d23049d419b5" providerId="ADAL" clId="{DDE82D7E-8C57-4757-859B-4947FB684CA1}" dt="2025-07-24T15:59:29.053" v="2158" actId="6549"/>
              <pc2:cmMkLst xmlns:pc2="http://schemas.microsoft.com/office/powerpoint/2019/9/main/command">
                <pc:docMk/>
                <pc:sldMk cId="2117145295" sldId="348"/>
                <pc2:cmMk id="{E32BBEC3-B3C3-4ACB-9BB9-B13A291D40B6}"/>
              </pc2:cmMkLst>
            </pc226:cmChg>
          </p:ext>
        </pc:extLst>
      </pc:sldChg>
      <pc:sldChg chg="modSp add mod">
        <pc:chgData name="Muffoletto, Jamie" userId="daf1e3c6-8137-448a-b141-d23049d419b5" providerId="ADAL" clId="{DDE82D7E-8C57-4757-859B-4947FB684CA1}" dt="2025-07-24T11:22:48.596" v="968" actId="207"/>
        <pc:sldMkLst>
          <pc:docMk/>
          <pc:sldMk cId="2983518012" sldId="350"/>
        </pc:sldMkLst>
        <pc:spChg chg="mod">
          <ac:chgData name="Muffoletto, Jamie" userId="daf1e3c6-8137-448a-b141-d23049d419b5" providerId="ADAL" clId="{DDE82D7E-8C57-4757-859B-4947FB684CA1}" dt="2025-07-24T11:22:48.596" v="968" actId="207"/>
          <ac:spMkLst>
            <pc:docMk/>
            <pc:sldMk cId="2983518012" sldId="350"/>
            <ac:spMk id="6" creationId="{5FD0380E-90B1-9597-233E-E85F6E657CFB}"/>
          </ac:spMkLst>
        </pc:spChg>
      </pc:sldChg>
      <pc:sldChg chg="modSp add del mod">
        <pc:chgData name="Muffoletto, Jamie" userId="daf1e3c6-8137-448a-b141-d23049d419b5" providerId="ADAL" clId="{DDE82D7E-8C57-4757-859B-4947FB684CA1}" dt="2025-07-24T17:45:24.217" v="2838" actId="47"/>
        <pc:sldMkLst>
          <pc:docMk/>
          <pc:sldMk cId="1296524183" sldId="351"/>
        </pc:sldMkLst>
        <pc:spChg chg="mod">
          <ac:chgData name="Muffoletto, Jamie" userId="daf1e3c6-8137-448a-b141-d23049d419b5" providerId="ADAL" clId="{DDE82D7E-8C57-4757-859B-4947FB684CA1}" dt="2025-07-24T16:47:48.516" v="2827" actId="404"/>
          <ac:spMkLst>
            <pc:docMk/>
            <pc:sldMk cId="1296524183" sldId="351"/>
            <ac:spMk id="2" creationId="{43D70F58-B07C-58F7-1AC2-F078EFD59057}"/>
          </ac:spMkLst>
        </pc:spChg>
        <pc:spChg chg="mod">
          <ac:chgData name="Muffoletto, Jamie" userId="daf1e3c6-8137-448a-b141-d23049d419b5" providerId="ADAL" clId="{DDE82D7E-8C57-4757-859B-4947FB684CA1}" dt="2025-07-24T15:58:59.288" v="2134" actId="20577"/>
          <ac:spMkLst>
            <pc:docMk/>
            <pc:sldMk cId="1296524183" sldId="351"/>
            <ac:spMk id="5" creationId="{54D75E00-DD97-7897-5032-4C84F2B4F789}"/>
          </ac:spMkLst>
        </pc:spChg>
        <pc:spChg chg="mod">
          <ac:chgData name="Muffoletto, Jamie" userId="daf1e3c6-8137-448a-b141-d23049d419b5" providerId="ADAL" clId="{DDE82D7E-8C57-4757-859B-4947FB684CA1}" dt="2025-07-24T17:03:45.686" v="2828" actId="207"/>
          <ac:spMkLst>
            <pc:docMk/>
            <pc:sldMk cId="1296524183" sldId="351"/>
            <ac:spMk id="6" creationId="{1642709F-1215-C5C0-5DCD-45B0B14C1876}"/>
          </ac:spMkLst>
        </pc:spChg>
      </pc:sldChg>
    </pc:docChg>
  </pc:docChgLst>
  <pc:docChgLst>
    <pc:chgData name="Hanson, Terri" userId="a02fd813-d4f3-43fd-83dd-7393041517de" providerId="ADAL" clId="{4372157A-9474-4EB1-8BBD-69A0A007F730}"/>
    <pc:docChg chg="undo custSel modSld">
      <pc:chgData name="Hanson, Terri" userId="a02fd813-d4f3-43fd-83dd-7393041517de" providerId="ADAL" clId="{4372157A-9474-4EB1-8BBD-69A0A007F730}" dt="2025-07-24T14:46:24.967" v="2" actId="20577"/>
      <pc:docMkLst>
        <pc:docMk/>
      </pc:docMkLst>
      <pc:sldChg chg="modSp mod modCm">
        <pc:chgData name="Hanson, Terri" userId="a02fd813-d4f3-43fd-83dd-7393041517de" providerId="ADAL" clId="{4372157A-9474-4EB1-8BBD-69A0A007F730}" dt="2025-07-24T14:46:24.967" v="2" actId="20577"/>
        <pc:sldMkLst>
          <pc:docMk/>
          <pc:sldMk cId="319113151" sldId="317"/>
        </pc:sldMkLst>
        <pc:spChg chg="mod">
          <ac:chgData name="Hanson, Terri" userId="a02fd813-d4f3-43fd-83dd-7393041517de" providerId="ADAL" clId="{4372157A-9474-4EB1-8BBD-69A0A007F730}" dt="2025-07-24T14:46:24.967" v="2" actId="20577"/>
          <ac:spMkLst>
            <pc:docMk/>
            <pc:sldMk cId="319113151" sldId="317"/>
            <ac:spMk id="6" creationId="{6B72A0C4-CA79-E863-8842-3F6A627EEA88}"/>
          </ac:spMkLst>
        </pc:spChg>
        <pc:extLst>
          <p:ext xmlns:p="http://schemas.openxmlformats.org/presentationml/2006/main" uri="{D6D511B9-2390-475A-947B-AFAB55BFBCF1}">
            <pc226:cmChg xmlns:pc226="http://schemas.microsoft.com/office/powerpoint/2022/06/main/command" chg="mod">
              <pc226:chgData name="Hanson, Terri" userId="a02fd813-d4f3-43fd-83dd-7393041517de" providerId="ADAL" clId="{4372157A-9474-4EB1-8BBD-69A0A007F730}" dt="2025-07-24T14:46:24.967" v="2" actId="20577"/>
              <pc2:cmMkLst xmlns:pc2="http://schemas.microsoft.com/office/powerpoint/2019/9/main/command">
                <pc:docMk/>
                <pc:sldMk cId="319113151" sldId="317"/>
                <pc2:cmMk id="{68DC563C-5370-4486-B01D-7FE1EF072D49}"/>
              </pc2:cmMkLst>
            </pc226:cmChg>
          </p:ext>
        </pc:extLst>
      </pc:sldChg>
      <pc:sldChg chg="modSp mod">
        <pc:chgData name="Hanson, Terri" userId="a02fd813-d4f3-43fd-83dd-7393041517de" providerId="ADAL" clId="{4372157A-9474-4EB1-8BBD-69A0A007F730}" dt="2025-07-23T18:26:47.464" v="1" actId="1076"/>
        <pc:sldMkLst>
          <pc:docMk/>
          <pc:sldMk cId="1137578800" sldId="340"/>
        </pc:sldMkLst>
        <pc:spChg chg="mod">
          <ac:chgData name="Hanson, Terri" userId="a02fd813-d4f3-43fd-83dd-7393041517de" providerId="ADAL" clId="{4372157A-9474-4EB1-8BBD-69A0A007F730}" dt="2025-07-23T18:26:47.464" v="1" actId="1076"/>
          <ac:spMkLst>
            <pc:docMk/>
            <pc:sldMk cId="1137578800" sldId="340"/>
            <ac:spMk id="8" creationId="{DE0B8E90-5DE3-232F-9562-E98700D75738}"/>
          </ac:spMkLst>
        </pc:spChg>
      </pc:sldChg>
    </pc:docChg>
  </pc:docChgLst>
  <pc:docChgLst>
    <pc:chgData name="Simons, Leanne" userId="S::leanne.simons@tea.texas.gov::f0b41770-584b-4844-b5c5-b29dec998724" providerId="AD" clId="Web-{8ECF5E63-A5CC-89AC-A840-324D6A2D9B54}"/>
    <pc:docChg chg="mod modSld sldOrd">
      <pc:chgData name="Simons, Leanne" userId="S::leanne.simons@tea.texas.gov::f0b41770-584b-4844-b5c5-b29dec998724" providerId="AD" clId="Web-{8ECF5E63-A5CC-89AC-A840-324D6A2D9B54}" dt="2025-07-23T14:45:01.125" v="18" actId="1076"/>
      <pc:docMkLst>
        <pc:docMk/>
      </pc:docMkLst>
      <pc:sldChg chg="ord">
        <pc:chgData name="Simons, Leanne" userId="S::leanne.simons@tea.texas.gov::f0b41770-584b-4844-b5c5-b29dec998724" providerId="AD" clId="Web-{8ECF5E63-A5CC-89AC-A840-324D6A2D9B54}" dt="2025-07-23T14:30:45.171" v="14"/>
        <pc:sldMkLst>
          <pc:docMk/>
          <pc:sldMk cId="2054112054" sldId="331"/>
        </pc:sldMkLst>
      </pc:sldChg>
      <pc:sldChg chg="modSp">
        <pc:chgData name="Simons, Leanne" userId="S::leanne.simons@tea.texas.gov::f0b41770-584b-4844-b5c5-b29dec998724" providerId="AD" clId="Web-{8ECF5E63-A5CC-89AC-A840-324D6A2D9B54}" dt="2025-07-22T14:35:06.440" v="12" actId="20577"/>
        <pc:sldMkLst>
          <pc:docMk/>
          <pc:sldMk cId="4054429543" sldId="346"/>
        </pc:sldMkLst>
        <pc:spChg chg="mod">
          <ac:chgData name="Simons, Leanne" userId="S::leanne.simons@tea.texas.gov::f0b41770-584b-4844-b5c5-b29dec998724" providerId="AD" clId="Web-{8ECF5E63-A5CC-89AC-A840-324D6A2D9B54}" dt="2025-07-22T14:35:06.440" v="12" actId="20577"/>
          <ac:spMkLst>
            <pc:docMk/>
            <pc:sldMk cId="4054429543" sldId="346"/>
            <ac:spMk id="3" creationId="{686FEBA5-3324-183D-04E9-B1613F0A6238}"/>
          </ac:spMkLst>
        </pc:spChg>
      </pc:sldChg>
      <pc:sldChg chg="modSp">
        <pc:chgData name="Simons, Leanne" userId="S::leanne.simons@tea.texas.gov::f0b41770-584b-4844-b5c5-b29dec998724" providerId="AD" clId="Web-{8ECF5E63-A5CC-89AC-A840-324D6A2D9B54}" dt="2025-07-23T14:45:01.125" v="18" actId="1076"/>
        <pc:sldMkLst>
          <pc:docMk/>
          <pc:sldMk cId="2696003594" sldId="347"/>
        </pc:sldMkLst>
        <pc:spChg chg="mod">
          <ac:chgData name="Simons, Leanne" userId="S::leanne.simons@tea.texas.gov::f0b41770-584b-4844-b5c5-b29dec998724" providerId="AD" clId="Web-{8ECF5E63-A5CC-89AC-A840-324D6A2D9B54}" dt="2025-07-23T14:45:01.125" v="18" actId="1076"/>
          <ac:spMkLst>
            <pc:docMk/>
            <pc:sldMk cId="2696003594" sldId="347"/>
            <ac:spMk id="2" creationId="{A169AE35-9AA7-79D4-8F82-339994C44618}"/>
          </ac:spMkLst>
        </pc:spChg>
      </pc:sldChg>
    </pc:docChg>
  </pc:docChgLst>
  <pc:docChgLst>
    <pc:chgData name="Muffoletto, Jamie" userId="S::jamie.muffoletto@tea.texas.gov::daf1e3c6-8137-448a-b141-d23049d419b5" providerId="AD" clId="Web-{4820EA16-D07F-DE3F-50EC-C393EBB2EED9}"/>
    <pc:docChg chg="mod">
      <pc:chgData name="Muffoletto, Jamie" userId="S::jamie.muffoletto@tea.texas.gov::daf1e3c6-8137-448a-b141-d23049d419b5" providerId="AD" clId="Web-{4820EA16-D07F-DE3F-50EC-C393EBB2EED9}" dt="2025-07-22T20:42:06.378" v="0"/>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678111-F802-442D-BE35-6830B3BA07BB}" type="datetimeFigureOut">
              <a:rPr lang="en-US" smtClean="0"/>
              <a:t>7/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0B8F12-24E7-4048-9E1B-B85BF2E1B0B0}" type="slidenum">
              <a:rPr lang="en-US" smtClean="0"/>
              <a:t>‹#›</a:t>
            </a:fld>
            <a:endParaRPr lang="en-US"/>
          </a:p>
        </p:txBody>
      </p:sp>
    </p:spTree>
    <p:extLst>
      <p:ext uri="{BB962C8B-B14F-4D97-AF65-F5344CB8AC3E}">
        <p14:creationId xmlns:p14="http://schemas.microsoft.com/office/powerpoint/2010/main" val="4057388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1</a:t>
            </a:fld>
            <a:endParaRPr lang="en-US"/>
          </a:p>
        </p:txBody>
      </p:sp>
    </p:spTree>
    <p:extLst>
      <p:ext uri="{BB962C8B-B14F-4D97-AF65-F5344CB8AC3E}">
        <p14:creationId xmlns:p14="http://schemas.microsoft.com/office/powerpoint/2010/main" val="1332968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2DAB5-A7B0-64CC-D52F-667661BF2D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E30FA-C6F3-D1E7-3058-7294E0680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81FDF1-3C1F-E22A-B6D9-181CE06871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CCF1DF-2DF2-5C82-A9BF-59A9129A7FA4}"/>
              </a:ext>
            </a:extLst>
          </p:cNvPr>
          <p:cNvSpPr>
            <a:spLocks noGrp="1"/>
          </p:cNvSpPr>
          <p:nvPr>
            <p:ph type="sldNum" sz="quarter" idx="5"/>
          </p:nvPr>
        </p:nvSpPr>
        <p:spPr/>
        <p:txBody>
          <a:bodyPr/>
          <a:lstStyle/>
          <a:p>
            <a:fld id="{7B0B8F12-24E7-4048-9E1B-B85BF2E1B0B0}" type="slidenum">
              <a:rPr lang="en-US" smtClean="0"/>
              <a:t>11</a:t>
            </a:fld>
            <a:endParaRPr lang="en-US"/>
          </a:p>
        </p:txBody>
      </p:sp>
    </p:spTree>
    <p:extLst>
      <p:ext uri="{BB962C8B-B14F-4D97-AF65-F5344CB8AC3E}">
        <p14:creationId xmlns:p14="http://schemas.microsoft.com/office/powerpoint/2010/main" val="1442732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E5159-6E71-14B2-06AA-88EB43DDB2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F8C88A-E6E3-381C-9CC4-5BF2ABD0FD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2755B3-C145-F853-71C9-27608EA416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FDC78F-47C4-385A-BD22-3226C9F9FE0F}"/>
              </a:ext>
            </a:extLst>
          </p:cNvPr>
          <p:cNvSpPr>
            <a:spLocks noGrp="1"/>
          </p:cNvSpPr>
          <p:nvPr>
            <p:ph type="sldNum" sz="quarter" idx="5"/>
          </p:nvPr>
        </p:nvSpPr>
        <p:spPr/>
        <p:txBody>
          <a:bodyPr/>
          <a:lstStyle/>
          <a:p>
            <a:fld id="{7B0B8F12-24E7-4048-9E1B-B85BF2E1B0B0}" type="slidenum">
              <a:rPr lang="en-US" smtClean="0"/>
              <a:t>12</a:t>
            </a:fld>
            <a:endParaRPr lang="en-US"/>
          </a:p>
        </p:txBody>
      </p:sp>
    </p:spTree>
    <p:extLst>
      <p:ext uri="{BB962C8B-B14F-4D97-AF65-F5344CB8AC3E}">
        <p14:creationId xmlns:p14="http://schemas.microsoft.com/office/powerpoint/2010/main" val="2988249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7A81F-AC4A-A01B-F886-38971A20EF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2422A6-7363-BD20-6D0A-1AC2952B7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8B6766-AB9E-CFCA-94FF-6422829DFF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D6261F-44AC-52C2-4722-8461C0A059CF}"/>
              </a:ext>
            </a:extLst>
          </p:cNvPr>
          <p:cNvSpPr>
            <a:spLocks noGrp="1"/>
          </p:cNvSpPr>
          <p:nvPr>
            <p:ph type="sldNum" sz="quarter" idx="5"/>
          </p:nvPr>
        </p:nvSpPr>
        <p:spPr/>
        <p:txBody>
          <a:bodyPr/>
          <a:lstStyle/>
          <a:p>
            <a:fld id="{7B0B8F12-24E7-4048-9E1B-B85BF2E1B0B0}" type="slidenum">
              <a:rPr lang="en-US" smtClean="0"/>
              <a:t>13</a:t>
            </a:fld>
            <a:endParaRPr lang="en-US"/>
          </a:p>
        </p:txBody>
      </p:sp>
    </p:spTree>
    <p:extLst>
      <p:ext uri="{BB962C8B-B14F-4D97-AF65-F5344CB8AC3E}">
        <p14:creationId xmlns:p14="http://schemas.microsoft.com/office/powerpoint/2010/main" val="1138767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2EC92-EEF5-DD90-A55C-2B786157CA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6AAAA-B191-2ECD-B52D-4618403B0D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D7E46C-C406-1452-45F2-7EA8657B2E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B9A47-D763-E948-0665-EC76A380F0B6}"/>
              </a:ext>
            </a:extLst>
          </p:cNvPr>
          <p:cNvSpPr>
            <a:spLocks noGrp="1"/>
          </p:cNvSpPr>
          <p:nvPr>
            <p:ph type="sldNum" sz="quarter" idx="5"/>
          </p:nvPr>
        </p:nvSpPr>
        <p:spPr/>
        <p:txBody>
          <a:bodyPr/>
          <a:lstStyle/>
          <a:p>
            <a:fld id="{7B0B8F12-24E7-4048-9E1B-B85BF2E1B0B0}" type="slidenum">
              <a:rPr lang="en-US" smtClean="0"/>
              <a:t>14</a:t>
            </a:fld>
            <a:endParaRPr lang="en-US"/>
          </a:p>
        </p:txBody>
      </p:sp>
    </p:spTree>
    <p:extLst>
      <p:ext uri="{BB962C8B-B14F-4D97-AF65-F5344CB8AC3E}">
        <p14:creationId xmlns:p14="http://schemas.microsoft.com/office/powerpoint/2010/main" val="19620083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C2695-C512-B2AE-19E4-8143F6D28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3398C9-B7E6-BA43-8B9D-3201D87051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F3ECC1-0A1A-54A1-4B72-9828EC9630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8E817DF-E704-C9D4-1FDA-641138A904EC}"/>
              </a:ext>
            </a:extLst>
          </p:cNvPr>
          <p:cNvSpPr>
            <a:spLocks noGrp="1"/>
          </p:cNvSpPr>
          <p:nvPr>
            <p:ph type="sldNum" sz="quarter" idx="5"/>
          </p:nvPr>
        </p:nvSpPr>
        <p:spPr/>
        <p:txBody>
          <a:bodyPr/>
          <a:lstStyle/>
          <a:p>
            <a:fld id="{7B0B8F12-24E7-4048-9E1B-B85BF2E1B0B0}" type="slidenum">
              <a:rPr lang="en-US" smtClean="0"/>
              <a:t>15</a:t>
            </a:fld>
            <a:endParaRPr lang="en-US"/>
          </a:p>
        </p:txBody>
      </p:sp>
    </p:spTree>
    <p:extLst>
      <p:ext uri="{BB962C8B-B14F-4D97-AF65-F5344CB8AC3E}">
        <p14:creationId xmlns:p14="http://schemas.microsoft.com/office/powerpoint/2010/main" val="3624738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91D91-94B6-8997-0865-4417705ADC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A3138-0C1A-71DE-E5BB-DBBBFA515B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F4B71-B3FA-3D36-EAC8-98BF762761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76EBBC-3C77-4D5D-F9E9-237E0C8BC411}"/>
              </a:ext>
            </a:extLst>
          </p:cNvPr>
          <p:cNvSpPr>
            <a:spLocks noGrp="1"/>
          </p:cNvSpPr>
          <p:nvPr>
            <p:ph type="sldNum" sz="quarter" idx="5"/>
          </p:nvPr>
        </p:nvSpPr>
        <p:spPr/>
        <p:txBody>
          <a:bodyPr/>
          <a:lstStyle/>
          <a:p>
            <a:fld id="{7B0B8F12-24E7-4048-9E1B-B85BF2E1B0B0}" type="slidenum">
              <a:rPr lang="en-US" smtClean="0"/>
              <a:t>16</a:t>
            </a:fld>
            <a:endParaRPr lang="en-US"/>
          </a:p>
        </p:txBody>
      </p:sp>
    </p:spTree>
    <p:extLst>
      <p:ext uri="{BB962C8B-B14F-4D97-AF65-F5344CB8AC3E}">
        <p14:creationId xmlns:p14="http://schemas.microsoft.com/office/powerpoint/2010/main" val="4076119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E41F4-0283-3FD0-2CB0-5DB7BAF61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8ABE70-C102-669E-3940-797141CA7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635407-5BAD-198D-5863-542837807E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071292-48AB-3C14-2558-CF2CB9F63735}"/>
              </a:ext>
            </a:extLst>
          </p:cNvPr>
          <p:cNvSpPr>
            <a:spLocks noGrp="1"/>
          </p:cNvSpPr>
          <p:nvPr>
            <p:ph type="sldNum" sz="quarter" idx="5"/>
          </p:nvPr>
        </p:nvSpPr>
        <p:spPr/>
        <p:txBody>
          <a:bodyPr/>
          <a:lstStyle/>
          <a:p>
            <a:fld id="{7B0B8F12-24E7-4048-9E1B-B85BF2E1B0B0}" type="slidenum">
              <a:rPr lang="en-US" smtClean="0"/>
              <a:t>17</a:t>
            </a:fld>
            <a:endParaRPr lang="en-US"/>
          </a:p>
        </p:txBody>
      </p:sp>
    </p:spTree>
    <p:extLst>
      <p:ext uri="{BB962C8B-B14F-4D97-AF65-F5344CB8AC3E}">
        <p14:creationId xmlns:p14="http://schemas.microsoft.com/office/powerpoint/2010/main" val="3431700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65F4A-B02C-8A31-D725-FA3FCEFF63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0CC83-8460-6DCE-118C-BABD606E20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FF2D3C-4C01-5F16-36B8-2D2A82FBDE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C1D0DEE-5482-7E5C-5935-C954D0053528}"/>
              </a:ext>
            </a:extLst>
          </p:cNvPr>
          <p:cNvSpPr>
            <a:spLocks noGrp="1"/>
          </p:cNvSpPr>
          <p:nvPr>
            <p:ph type="sldNum" sz="quarter" idx="5"/>
          </p:nvPr>
        </p:nvSpPr>
        <p:spPr/>
        <p:txBody>
          <a:bodyPr/>
          <a:lstStyle/>
          <a:p>
            <a:fld id="{7B0B8F12-24E7-4048-9E1B-B85BF2E1B0B0}" type="slidenum">
              <a:rPr lang="en-US" smtClean="0"/>
              <a:t>18</a:t>
            </a:fld>
            <a:endParaRPr lang="en-US"/>
          </a:p>
        </p:txBody>
      </p:sp>
    </p:spTree>
    <p:extLst>
      <p:ext uri="{BB962C8B-B14F-4D97-AF65-F5344CB8AC3E}">
        <p14:creationId xmlns:p14="http://schemas.microsoft.com/office/powerpoint/2010/main" val="1504939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E09EE-9D13-84F3-C2C5-78F7C7094A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26FCF-747C-478B-49BF-F0111F4EFF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C3FB3-0E5E-D936-B051-AD8242A14F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C7EFB9-5C2C-283C-9C92-59C660191DFC}"/>
              </a:ext>
            </a:extLst>
          </p:cNvPr>
          <p:cNvSpPr>
            <a:spLocks noGrp="1"/>
          </p:cNvSpPr>
          <p:nvPr>
            <p:ph type="sldNum" sz="quarter" idx="5"/>
          </p:nvPr>
        </p:nvSpPr>
        <p:spPr/>
        <p:txBody>
          <a:bodyPr/>
          <a:lstStyle/>
          <a:p>
            <a:fld id="{7B0B8F12-24E7-4048-9E1B-B85BF2E1B0B0}" type="slidenum">
              <a:rPr lang="en-US" smtClean="0"/>
              <a:t>19</a:t>
            </a:fld>
            <a:endParaRPr lang="en-US"/>
          </a:p>
        </p:txBody>
      </p:sp>
    </p:spTree>
    <p:extLst>
      <p:ext uri="{BB962C8B-B14F-4D97-AF65-F5344CB8AC3E}">
        <p14:creationId xmlns:p14="http://schemas.microsoft.com/office/powerpoint/2010/main" val="1806428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118B1-2381-FD01-28D6-87A95CEE09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C3E725-E4A2-C032-A8BC-F2E95B70A0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776C9B-89A9-9173-0034-7E2CC9AAB7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976E06-4C42-2DA7-71B1-B68C7CF88178}"/>
              </a:ext>
            </a:extLst>
          </p:cNvPr>
          <p:cNvSpPr>
            <a:spLocks noGrp="1"/>
          </p:cNvSpPr>
          <p:nvPr>
            <p:ph type="sldNum" sz="quarter" idx="5"/>
          </p:nvPr>
        </p:nvSpPr>
        <p:spPr/>
        <p:txBody>
          <a:bodyPr/>
          <a:lstStyle/>
          <a:p>
            <a:fld id="{7B0B8F12-24E7-4048-9E1B-B85BF2E1B0B0}" type="slidenum">
              <a:rPr lang="en-US" smtClean="0"/>
              <a:t>20</a:t>
            </a:fld>
            <a:endParaRPr lang="en-US"/>
          </a:p>
        </p:txBody>
      </p:sp>
    </p:spTree>
    <p:extLst>
      <p:ext uri="{BB962C8B-B14F-4D97-AF65-F5344CB8AC3E}">
        <p14:creationId xmlns:p14="http://schemas.microsoft.com/office/powerpoint/2010/main" val="2874052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14E7C-55CE-F6DB-6705-2469AE41F3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A8BC34-2101-E987-38DF-3FFB6301B8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FA097B-AC3D-2345-3048-6AB6C33017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C16FC1-C659-12D2-888A-2373BE45848C}"/>
              </a:ext>
            </a:extLst>
          </p:cNvPr>
          <p:cNvSpPr>
            <a:spLocks noGrp="1"/>
          </p:cNvSpPr>
          <p:nvPr>
            <p:ph type="sldNum" sz="quarter" idx="5"/>
          </p:nvPr>
        </p:nvSpPr>
        <p:spPr/>
        <p:txBody>
          <a:bodyPr/>
          <a:lstStyle/>
          <a:p>
            <a:fld id="{7B0B8F12-24E7-4048-9E1B-B85BF2E1B0B0}" type="slidenum">
              <a:rPr lang="en-US" smtClean="0"/>
              <a:t>3</a:t>
            </a:fld>
            <a:endParaRPr lang="en-US"/>
          </a:p>
        </p:txBody>
      </p:sp>
    </p:spTree>
    <p:extLst>
      <p:ext uri="{BB962C8B-B14F-4D97-AF65-F5344CB8AC3E}">
        <p14:creationId xmlns:p14="http://schemas.microsoft.com/office/powerpoint/2010/main" val="20172188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07215-96F9-870F-7B63-8BAB6B9EBA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967738-9F95-7B92-DE62-7BB00D72CB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A24070-AA89-8156-E23F-2D9F8F2B93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20ED6D-92F3-F2B6-9770-6E77C261BBBC}"/>
              </a:ext>
            </a:extLst>
          </p:cNvPr>
          <p:cNvSpPr>
            <a:spLocks noGrp="1"/>
          </p:cNvSpPr>
          <p:nvPr>
            <p:ph type="sldNum" sz="quarter" idx="5"/>
          </p:nvPr>
        </p:nvSpPr>
        <p:spPr/>
        <p:txBody>
          <a:bodyPr/>
          <a:lstStyle/>
          <a:p>
            <a:fld id="{7B0B8F12-24E7-4048-9E1B-B85BF2E1B0B0}" type="slidenum">
              <a:rPr lang="en-US" smtClean="0"/>
              <a:t>21</a:t>
            </a:fld>
            <a:endParaRPr lang="en-US"/>
          </a:p>
        </p:txBody>
      </p:sp>
    </p:spTree>
    <p:extLst>
      <p:ext uri="{BB962C8B-B14F-4D97-AF65-F5344CB8AC3E}">
        <p14:creationId xmlns:p14="http://schemas.microsoft.com/office/powerpoint/2010/main" val="33624605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12F3C-C5E4-D27E-FAFB-6AF1EC9A5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62120-FA00-B377-20CD-1D9EC21715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25DDD-146A-1F35-A629-082B6FFAD9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E2909C-1E25-C0E3-3803-99A606B67A72}"/>
              </a:ext>
            </a:extLst>
          </p:cNvPr>
          <p:cNvSpPr>
            <a:spLocks noGrp="1"/>
          </p:cNvSpPr>
          <p:nvPr>
            <p:ph type="sldNum" sz="quarter" idx="5"/>
          </p:nvPr>
        </p:nvSpPr>
        <p:spPr/>
        <p:txBody>
          <a:bodyPr/>
          <a:lstStyle/>
          <a:p>
            <a:fld id="{7B0B8F12-24E7-4048-9E1B-B85BF2E1B0B0}" type="slidenum">
              <a:rPr lang="en-US" smtClean="0"/>
              <a:t>22</a:t>
            </a:fld>
            <a:endParaRPr lang="en-US"/>
          </a:p>
        </p:txBody>
      </p:sp>
    </p:spTree>
    <p:extLst>
      <p:ext uri="{BB962C8B-B14F-4D97-AF65-F5344CB8AC3E}">
        <p14:creationId xmlns:p14="http://schemas.microsoft.com/office/powerpoint/2010/main" val="2857162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6F8F6-5450-71E9-3DC5-7AC7497DC9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4AA37-167A-682C-AF79-ADBD9A7B6F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EF824-A931-C4E1-5736-CE791E73A7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ACB3A9-2167-BC63-AA0E-36372728CE95}"/>
              </a:ext>
            </a:extLst>
          </p:cNvPr>
          <p:cNvSpPr>
            <a:spLocks noGrp="1"/>
          </p:cNvSpPr>
          <p:nvPr>
            <p:ph type="sldNum" sz="quarter" idx="5"/>
          </p:nvPr>
        </p:nvSpPr>
        <p:spPr/>
        <p:txBody>
          <a:bodyPr/>
          <a:lstStyle/>
          <a:p>
            <a:fld id="{7B0B8F12-24E7-4048-9E1B-B85BF2E1B0B0}" type="slidenum">
              <a:rPr lang="en-US" smtClean="0"/>
              <a:t>23</a:t>
            </a:fld>
            <a:endParaRPr lang="en-US"/>
          </a:p>
        </p:txBody>
      </p:sp>
    </p:spTree>
    <p:extLst>
      <p:ext uri="{BB962C8B-B14F-4D97-AF65-F5344CB8AC3E}">
        <p14:creationId xmlns:p14="http://schemas.microsoft.com/office/powerpoint/2010/main" val="1098841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9E605-522E-C3C4-DC54-BF06CDD67F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B99166-7F67-688D-80F0-9B5C5EA13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DAC398-4654-F471-AA8F-60509B9206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1194AD-1E88-A033-A5BD-B41109404B93}"/>
              </a:ext>
            </a:extLst>
          </p:cNvPr>
          <p:cNvSpPr>
            <a:spLocks noGrp="1"/>
          </p:cNvSpPr>
          <p:nvPr>
            <p:ph type="sldNum" sz="quarter" idx="5"/>
          </p:nvPr>
        </p:nvSpPr>
        <p:spPr/>
        <p:txBody>
          <a:bodyPr/>
          <a:lstStyle/>
          <a:p>
            <a:fld id="{7B0B8F12-24E7-4048-9E1B-B85BF2E1B0B0}" type="slidenum">
              <a:rPr lang="en-US" smtClean="0"/>
              <a:t>24</a:t>
            </a:fld>
            <a:endParaRPr lang="en-US"/>
          </a:p>
        </p:txBody>
      </p:sp>
    </p:spTree>
    <p:extLst>
      <p:ext uri="{BB962C8B-B14F-4D97-AF65-F5344CB8AC3E}">
        <p14:creationId xmlns:p14="http://schemas.microsoft.com/office/powerpoint/2010/main" val="29186842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5AD2C-3044-8F49-B248-F3FA33425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0AF6AE-612B-5D93-4734-1E5B5603E6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0466E7-8915-D266-D63A-C2A9C053BB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E4EABA-B253-7FBC-00EA-C3C9636A887A}"/>
              </a:ext>
            </a:extLst>
          </p:cNvPr>
          <p:cNvSpPr>
            <a:spLocks noGrp="1"/>
          </p:cNvSpPr>
          <p:nvPr>
            <p:ph type="sldNum" sz="quarter" idx="5"/>
          </p:nvPr>
        </p:nvSpPr>
        <p:spPr/>
        <p:txBody>
          <a:bodyPr/>
          <a:lstStyle/>
          <a:p>
            <a:fld id="{7B0B8F12-24E7-4048-9E1B-B85BF2E1B0B0}" type="slidenum">
              <a:rPr lang="en-US" smtClean="0"/>
              <a:t>25</a:t>
            </a:fld>
            <a:endParaRPr lang="en-US"/>
          </a:p>
        </p:txBody>
      </p:sp>
    </p:spTree>
    <p:extLst>
      <p:ext uri="{BB962C8B-B14F-4D97-AF65-F5344CB8AC3E}">
        <p14:creationId xmlns:p14="http://schemas.microsoft.com/office/powerpoint/2010/main" val="3916967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B423F-BE64-0727-B2CD-DD9A04ED47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BCC2B-879A-0E24-AA1B-456D98FACA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95BC1A-F126-57CC-6DA7-D78784632F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5FABF3-DF12-486A-C5BF-3A01DFE08D5D}"/>
              </a:ext>
            </a:extLst>
          </p:cNvPr>
          <p:cNvSpPr>
            <a:spLocks noGrp="1"/>
          </p:cNvSpPr>
          <p:nvPr>
            <p:ph type="sldNum" sz="quarter" idx="5"/>
          </p:nvPr>
        </p:nvSpPr>
        <p:spPr/>
        <p:txBody>
          <a:bodyPr/>
          <a:lstStyle/>
          <a:p>
            <a:fld id="{7B0B8F12-24E7-4048-9E1B-B85BF2E1B0B0}" type="slidenum">
              <a:rPr lang="en-US" smtClean="0"/>
              <a:t>26</a:t>
            </a:fld>
            <a:endParaRPr lang="en-US"/>
          </a:p>
        </p:txBody>
      </p:sp>
    </p:spTree>
    <p:extLst>
      <p:ext uri="{BB962C8B-B14F-4D97-AF65-F5344CB8AC3E}">
        <p14:creationId xmlns:p14="http://schemas.microsoft.com/office/powerpoint/2010/main" val="30598780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850B8-D488-8635-89B5-3016920310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FBA33A-ADAB-20B2-79F9-095E29720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3B2AF1-20CD-0F41-50F2-7690D3EC1C4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C3ABD2-ECCE-CA3D-C9A9-EE83F6D076D5}"/>
              </a:ext>
            </a:extLst>
          </p:cNvPr>
          <p:cNvSpPr>
            <a:spLocks noGrp="1"/>
          </p:cNvSpPr>
          <p:nvPr>
            <p:ph type="sldNum" sz="quarter" idx="5"/>
          </p:nvPr>
        </p:nvSpPr>
        <p:spPr/>
        <p:txBody>
          <a:bodyPr/>
          <a:lstStyle/>
          <a:p>
            <a:fld id="{7B0B8F12-24E7-4048-9E1B-B85BF2E1B0B0}" type="slidenum">
              <a:rPr lang="en-US" smtClean="0"/>
              <a:t>27</a:t>
            </a:fld>
            <a:endParaRPr lang="en-US"/>
          </a:p>
        </p:txBody>
      </p:sp>
    </p:spTree>
    <p:extLst>
      <p:ext uri="{BB962C8B-B14F-4D97-AF65-F5344CB8AC3E}">
        <p14:creationId xmlns:p14="http://schemas.microsoft.com/office/powerpoint/2010/main" val="35231001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D449-634C-A427-318C-95A64CE3AD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86367-7513-7FC5-55E4-39CD54B697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0A7AF8-61EA-F54A-BCA3-D04A9C2D3F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FDE4C87-DC13-9311-A612-BC3E3E9B928F}"/>
              </a:ext>
            </a:extLst>
          </p:cNvPr>
          <p:cNvSpPr>
            <a:spLocks noGrp="1"/>
          </p:cNvSpPr>
          <p:nvPr>
            <p:ph type="sldNum" sz="quarter" idx="5"/>
          </p:nvPr>
        </p:nvSpPr>
        <p:spPr/>
        <p:txBody>
          <a:bodyPr/>
          <a:lstStyle/>
          <a:p>
            <a:fld id="{7B0B8F12-24E7-4048-9E1B-B85BF2E1B0B0}" type="slidenum">
              <a:rPr lang="en-US" smtClean="0"/>
              <a:t>28</a:t>
            </a:fld>
            <a:endParaRPr lang="en-US"/>
          </a:p>
        </p:txBody>
      </p:sp>
    </p:spTree>
    <p:extLst>
      <p:ext uri="{BB962C8B-B14F-4D97-AF65-F5344CB8AC3E}">
        <p14:creationId xmlns:p14="http://schemas.microsoft.com/office/powerpoint/2010/main" val="465500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A9689-E53F-B0DC-3CE6-CABDCF122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FA7BB6-FBD1-20F6-3339-52F5307D33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8ADFDC-EB1C-667C-A696-B8DD377ED5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AF07A4-4337-6515-419F-02DAF4B8921A}"/>
              </a:ext>
            </a:extLst>
          </p:cNvPr>
          <p:cNvSpPr>
            <a:spLocks noGrp="1"/>
          </p:cNvSpPr>
          <p:nvPr>
            <p:ph type="sldNum" sz="quarter" idx="5"/>
          </p:nvPr>
        </p:nvSpPr>
        <p:spPr/>
        <p:txBody>
          <a:bodyPr/>
          <a:lstStyle/>
          <a:p>
            <a:fld id="{7B0B8F12-24E7-4048-9E1B-B85BF2E1B0B0}" type="slidenum">
              <a:rPr lang="en-US" smtClean="0"/>
              <a:t>29</a:t>
            </a:fld>
            <a:endParaRPr lang="en-US"/>
          </a:p>
        </p:txBody>
      </p:sp>
    </p:spTree>
    <p:extLst>
      <p:ext uri="{BB962C8B-B14F-4D97-AF65-F5344CB8AC3E}">
        <p14:creationId xmlns:p14="http://schemas.microsoft.com/office/powerpoint/2010/main" val="8497095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83719-B3F2-2AE0-1D1F-FAF5AFDB1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54CE6-A4FE-CC20-6F58-7D1089B7D9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10B072-91BB-62FC-C02B-695BD0E00C2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086A22-2C15-F806-5343-2C589345D42D}"/>
              </a:ext>
            </a:extLst>
          </p:cNvPr>
          <p:cNvSpPr>
            <a:spLocks noGrp="1"/>
          </p:cNvSpPr>
          <p:nvPr>
            <p:ph type="sldNum" sz="quarter" idx="5"/>
          </p:nvPr>
        </p:nvSpPr>
        <p:spPr/>
        <p:txBody>
          <a:bodyPr/>
          <a:lstStyle/>
          <a:p>
            <a:fld id="{7B0B8F12-24E7-4048-9E1B-B85BF2E1B0B0}" type="slidenum">
              <a:rPr lang="en-US" smtClean="0"/>
              <a:t>30</a:t>
            </a:fld>
            <a:endParaRPr lang="en-US"/>
          </a:p>
        </p:txBody>
      </p:sp>
    </p:spTree>
    <p:extLst>
      <p:ext uri="{BB962C8B-B14F-4D97-AF65-F5344CB8AC3E}">
        <p14:creationId xmlns:p14="http://schemas.microsoft.com/office/powerpoint/2010/main" val="494069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C7C15-A115-C659-D6A1-F2CB248D0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B16B4-2DF7-1EA7-85CA-9D2E7170CA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612567-3C03-417A-7C18-2858D0161E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F13CDD-407B-3715-6B83-EE800882A85F}"/>
              </a:ext>
            </a:extLst>
          </p:cNvPr>
          <p:cNvSpPr>
            <a:spLocks noGrp="1"/>
          </p:cNvSpPr>
          <p:nvPr>
            <p:ph type="sldNum" sz="quarter" idx="5"/>
          </p:nvPr>
        </p:nvSpPr>
        <p:spPr/>
        <p:txBody>
          <a:bodyPr/>
          <a:lstStyle/>
          <a:p>
            <a:fld id="{7B0B8F12-24E7-4048-9E1B-B85BF2E1B0B0}" type="slidenum">
              <a:rPr lang="en-US" smtClean="0"/>
              <a:t>4</a:t>
            </a:fld>
            <a:endParaRPr lang="en-US"/>
          </a:p>
        </p:txBody>
      </p:sp>
    </p:spTree>
    <p:extLst>
      <p:ext uri="{BB962C8B-B14F-4D97-AF65-F5344CB8AC3E}">
        <p14:creationId xmlns:p14="http://schemas.microsoft.com/office/powerpoint/2010/main" val="26823748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CFC27-3955-EDA7-3A9A-2A80F857E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1F5D3F-E2AD-19F2-2BD9-443CE5ACF1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CA71E-05C7-3791-68FD-FEB971C2DF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99E55B3-DAAF-42D8-9DDF-208FB2CB0C1D}"/>
              </a:ext>
            </a:extLst>
          </p:cNvPr>
          <p:cNvSpPr>
            <a:spLocks noGrp="1"/>
          </p:cNvSpPr>
          <p:nvPr>
            <p:ph type="sldNum" sz="quarter" idx="5"/>
          </p:nvPr>
        </p:nvSpPr>
        <p:spPr/>
        <p:txBody>
          <a:bodyPr/>
          <a:lstStyle/>
          <a:p>
            <a:fld id="{7B0B8F12-24E7-4048-9E1B-B85BF2E1B0B0}" type="slidenum">
              <a:rPr lang="en-US" smtClean="0"/>
              <a:t>31</a:t>
            </a:fld>
            <a:endParaRPr lang="en-US"/>
          </a:p>
        </p:txBody>
      </p:sp>
    </p:spTree>
    <p:extLst>
      <p:ext uri="{BB962C8B-B14F-4D97-AF65-F5344CB8AC3E}">
        <p14:creationId xmlns:p14="http://schemas.microsoft.com/office/powerpoint/2010/main" val="2530983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3DFAF-0E70-56C6-A8A1-620864898D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89FC32-EE0B-D8E8-8658-B635C6799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BBA475-D68F-7C5B-BEC1-F9D96C3992F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84D03A-1661-771D-6C22-0F7BFCD59843}"/>
              </a:ext>
            </a:extLst>
          </p:cNvPr>
          <p:cNvSpPr>
            <a:spLocks noGrp="1"/>
          </p:cNvSpPr>
          <p:nvPr>
            <p:ph type="sldNum" sz="quarter" idx="5"/>
          </p:nvPr>
        </p:nvSpPr>
        <p:spPr/>
        <p:txBody>
          <a:bodyPr/>
          <a:lstStyle/>
          <a:p>
            <a:fld id="{7B0B8F12-24E7-4048-9E1B-B85BF2E1B0B0}" type="slidenum">
              <a:rPr lang="en-US" smtClean="0"/>
              <a:t>32</a:t>
            </a:fld>
            <a:endParaRPr lang="en-US"/>
          </a:p>
        </p:txBody>
      </p:sp>
    </p:spTree>
    <p:extLst>
      <p:ext uri="{BB962C8B-B14F-4D97-AF65-F5344CB8AC3E}">
        <p14:creationId xmlns:p14="http://schemas.microsoft.com/office/powerpoint/2010/main" val="6015480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249C0-E8E6-B0FB-68A5-D165F0870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39D655-6E2B-C52E-8583-E2E2331FCA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E82C7D-5551-BD67-8068-BDD3E77B9C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4A388E-1207-8A8B-7667-D2B565DF155E}"/>
              </a:ext>
            </a:extLst>
          </p:cNvPr>
          <p:cNvSpPr>
            <a:spLocks noGrp="1"/>
          </p:cNvSpPr>
          <p:nvPr>
            <p:ph type="sldNum" sz="quarter" idx="5"/>
          </p:nvPr>
        </p:nvSpPr>
        <p:spPr/>
        <p:txBody>
          <a:bodyPr/>
          <a:lstStyle/>
          <a:p>
            <a:fld id="{7B0B8F12-24E7-4048-9E1B-B85BF2E1B0B0}" type="slidenum">
              <a:rPr lang="en-US" smtClean="0"/>
              <a:t>33</a:t>
            </a:fld>
            <a:endParaRPr lang="en-US"/>
          </a:p>
        </p:txBody>
      </p:sp>
    </p:spTree>
    <p:extLst>
      <p:ext uri="{BB962C8B-B14F-4D97-AF65-F5344CB8AC3E}">
        <p14:creationId xmlns:p14="http://schemas.microsoft.com/office/powerpoint/2010/main" val="3072516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75D1C-D929-A0C6-7164-FDF0D5AADC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3F20D-FD88-8E23-410D-5A14C31B35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D495F-A017-A2E4-BB80-508B4DC2F3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2FBBA2-67FF-DBF3-9E62-5F7FC4C479D9}"/>
              </a:ext>
            </a:extLst>
          </p:cNvPr>
          <p:cNvSpPr>
            <a:spLocks noGrp="1"/>
          </p:cNvSpPr>
          <p:nvPr>
            <p:ph type="sldNum" sz="quarter" idx="5"/>
          </p:nvPr>
        </p:nvSpPr>
        <p:spPr/>
        <p:txBody>
          <a:bodyPr/>
          <a:lstStyle/>
          <a:p>
            <a:fld id="{7B0B8F12-24E7-4048-9E1B-B85BF2E1B0B0}" type="slidenum">
              <a:rPr lang="en-US" smtClean="0"/>
              <a:t>34</a:t>
            </a:fld>
            <a:endParaRPr lang="en-US"/>
          </a:p>
        </p:txBody>
      </p:sp>
    </p:spTree>
    <p:extLst>
      <p:ext uri="{BB962C8B-B14F-4D97-AF65-F5344CB8AC3E}">
        <p14:creationId xmlns:p14="http://schemas.microsoft.com/office/powerpoint/2010/main" val="14706311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75F5C-4CC0-BF39-E7FE-264C6A4439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3E9F6D-2B3E-34DB-CFFC-1532983D84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66F39F-1A87-0A1A-2263-21D9BB3D86E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BCFB6B-84DA-7315-1087-1BB413C36C09}"/>
              </a:ext>
            </a:extLst>
          </p:cNvPr>
          <p:cNvSpPr>
            <a:spLocks noGrp="1"/>
          </p:cNvSpPr>
          <p:nvPr>
            <p:ph type="sldNum" sz="quarter" idx="5"/>
          </p:nvPr>
        </p:nvSpPr>
        <p:spPr/>
        <p:txBody>
          <a:bodyPr/>
          <a:lstStyle/>
          <a:p>
            <a:fld id="{7B0B8F12-24E7-4048-9E1B-B85BF2E1B0B0}" type="slidenum">
              <a:rPr lang="en-US" smtClean="0"/>
              <a:t>35</a:t>
            </a:fld>
            <a:endParaRPr lang="en-US"/>
          </a:p>
        </p:txBody>
      </p:sp>
    </p:spTree>
    <p:extLst>
      <p:ext uri="{BB962C8B-B14F-4D97-AF65-F5344CB8AC3E}">
        <p14:creationId xmlns:p14="http://schemas.microsoft.com/office/powerpoint/2010/main" val="3225450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A9D8B-45A4-C8A5-C267-A84DC876CA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4B3144-F866-F250-A203-234DB37E6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6046F-1946-5278-8E4D-A8351FE0B7B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C17D4C-AD80-3452-4DD7-1CEB4C4712EF}"/>
              </a:ext>
            </a:extLst>
          </p:cNvPr>
          <p:cNvSpPr>
            <a:spLocks noGrp="1"/>
          </p:cNvSpPr>
          <p:nvPr>
            <p:ph type="sldNum" sz="quarter" idx="5"/>
          </p:nvPr>
        </p:nvSpPr>
        <p:spPr/>
        <p:txBody>
          <a:bodyPr/>
          <a:lstStyle/>
          <a:p>
            <a:fld id="{7B0B8F12-24E7-4048-9E1B-B85BF2E1B0B0}" type="slidenum">
              <a:rPr lang="en-US" smtClean="0"/>
              <a:t>36</a:t>
            </a:fld>
            <a:endParaRPr lang="en-US"/>
          </a:p>
        </p:txBody>
      </p:sp>
    </p:spTree>
    <p:extLst>
      <p:ext uri="{BB962C8B-B14F-4D97-AF65-F5344CB8AC3E}">
        <p14:creationId xmlns:p14="http://schemas.microsoft.com/office/powerpoint/2010/main" val="41823591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64391-F9C0-D1A8-12A7-F4838F60E8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CAED58-C140-D64B-6E61-969FD1D7B0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C639DC-40C2-0F1B-6522-390B93CEA4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6C94D2-4DD2-D891-8F35-D443F0ACE47E}"/>
              </a:ext>
            </a:extLst>
          </p:cNvPr>
          <p:cNvSpPr>
            <a:spLocks noGrp="1"/>
          </p:cNvSpPr>
          <p:nvPr>
            <p:ph type="sldNum" sz="quarter" idx="5"/>
          </p:nvPr>
        </p:nvSpPr>
        <p:spPr/>
        <p:txBody>
          <a:bodyPr/>
          <a:lstStyle/>
          <a:p>
            <a:fld id="{7B0B8F12-24E7-4048-9E1B-B85BF2E1B0B0}" type="slidenum">
              <a:rPr lang="en-US" smtClean="0"/>
              <a:t>37</a:t>
            </a:fld>
            <a:endParaRPr lang="en-US"/>
          </a:p>
        </p:txBody>
      </p:sp>
    </p:spTree>
    <p:extLst>
      <p:ext uri="{BB962C8B-B14F-4D97-AF65-F5344CB8AC3E}">
        <p14:creationId xmlns:p14="http://schemas.microsoft.com/office/powerpoint/2010/main" val="695647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CAA8F-64DB-DFBF-7F25-A0FBDE6DE3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EFA15D-74D4-EC10-3CE7-2B581F3B96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89928-ABB5-2BF2-FD7D-09692E216E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E5900F-9669-E6F7-34A2-C4A53FFC0F02}"/>
              </a:ext>
            </a:extLst>
          </p:cNvPr>
          <p:cNvSpPr>
            <a:spLocks noGrp="1"/>
          </p:cNvSpPr>
          <p:nvPr>
            <p:ph type="sldNum" sz="quarter" idx="5"/>
          </p:nvPr>
        </p:nvSpPr>
        <p:spPr/>
        <p:txBody>
          <a:bodyPr/>
          <a:lstStyle/>
          <a:p>
            <a:fld id="{7B0B8F12-24E7-4048-9E1B-B85BF2E1B0B0}" type="slidenum">
              <a:rPr lang="en-US" smtClean="0"/>
              <a:t>38</a:t>
            </a:fld>
            <a:endParaRPr lang="en-US"/>
          </a:p>
        </p:txBody>
      </p:sp>
    </p:spTree>
    <p:extLst>
      <p:ext uri="{BB962C8B-B14F-4D97-AF65-F5344CB8AC3E}">
        <p14:creationId xmlns:p14="http://schemas.microsoft.com/office/powerpoint/2010/main" val="18602883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3D3F8-DCF7-4ECB-F637-2EBFA6C0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9FDE5D-48F6-6859-8192-6074A091A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789A1A-6594-DFE5-DB77-B8F5A90C7B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60FD5D-CDAC-543C-9B52-C5102405F505}"/>
              </a:ext>
            </a:extLst>
          </p:cNvPr>
          <p:cNvSpPr>
            <a:spLocks noGrp="1"/>
          </p:cNvSpPr>
          <p:nvPr>
            <p:ph type="sldNum" sz="quarter" idx="5"/>
          </p:nvPr>
        </p:nvSpPr>
        <p:spPr/>
        <p:txBody>
          <a:bodyPr/>
          <a:lstStyle/>
          <a:p>
            <a:fld id="{7B0B8F12-24E7-4048-9E1B-B85BF2E1B0B0}" type="slidenum">
              <a:rPr lang="en-US" smtClean="0"/>
              <a:t>39</a:t>
            </a:fld>
            <a:endParaRPr lang="en-US"/>
          </a:p>
        </p:txBody>
      </p:sp>
    </p:spTree>
    <p:extLst>
      <p:ext uri="{BB962C8B-B14F-4D97-AF65-F5344CB8AC3E}">
        <p14:creationId xmlns:p14="http://schemas.microsoft.com/office/powerpoint/2010/main" val="208404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81BB0-6867-45E4-2E7F-E34EBED290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D8C7D-C14A-C19C-C0F4-45DDF0DCB1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0DAED-E668-1986-E278-63E94640F3F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E996A1-1129-F662-9265-3EFEA3F3B24E}"/>
              </a:ext>
            </a:extLst>
          </p:cNvPr>
          <p:cNvSpPr>
            <a:spLocks noGrp="1"/>
          </p:cNvSpPr>
          <p:nvPr>
            <p:ph type="sldNum" sz="quarter" idx="5"/>
          </p:nvPr>
        </p:nvSpPr>
        <p:spPr/>
        <p:txBody>
          <a:bodyPr/>
          <a:lstStyle/>
          <a:p>
            <a:fld id="{7B0B8F12-24E7-4048-9E1B-B85BF2E1B0B0}" type="slidenum">
              <a:rPr lang="en-US" smtClean="0"/>
              <a:t>40</a:t>
            </a:fld>
            <a:endParaRPr lang="en-US"/>
          </a:p>
        </p:txBody>
      </p:sp>
    </p:spTree>
    <p:extLst>
      <p:ext uri="{BB962C8B-B14F-4D97-AF65-F5344CB8AC3E}">
        <p14:creationId xmlns:p14="http://schemas.microsoft.com/office/powerpoint/2010/main" val="1282118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8F377-8088-2DED-B5E5-D5AEB68B3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26DE1-4CB5-E9A6-F87A-B6B1010B3E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9C160E-48C1-A54D-FFFC-4CE9BA844A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66F380-F86F-39FE-3756-1B21670EE08F}"/>
              </a:ext>
            </a:extLst>
          </p:cNvPr>
          <p:cNvSpPr>
            <a:spLocks noGrp="1"/>
          </p:cNvSpPr>
          <p:nvPr>
            <p:ph type="sldNum" sz="quarter" idx="5"/>
          </p:nvPr>
        </p:nvSpPr>
        <p:spPr/>
        <p:txBody>
          <a:bodyPr/>
          <a:lstStyle/>
          <a:p>
            <a:fld id="{7B0B8F12-24E7-4048-9E1B-B85BF2E1B0B0}" type="slidenum">
              <a:rPr lang="en-US" smtClean="0"/>
              <a:t>5</a:t>
            </a:fld>
            <a:endParaRPr lang="en-US"/>
          </a:p>
        </p:txBody>
      </p:sp>
    </p:spTree>
    <p:extLst>
      <p:ext uri="{BB962C8B-B14F-4D97-AF65-F5344CB8AC3E}">
        <p14:creationId xmlns:p14="http://schemas.microsoft.com/office/powerpoint/2010/main" val="21728256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A9DBE-D05A-8502-C244-E3B339849D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B14E2E-8F7D-012B-7E7B-ACC313D8E0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C66230-F1E4-468B-149D-D425F01BFB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F67186-17FB-6CFB-377D-CC028823CDDE}"/>
              </a:ext>
            </a:extLst>
          </p:cNvPr>
          <p:cNvSpPr>
            <a:spLocks noGrp="1"/>
          </p:cNvSpPr>
          <p:nvPr>
            <p:ph type="sldNum" sz="quarter" idx="5"/>
          </p:nvPr>
        </p:nvSpPr>
        <p:spPr/>
        <p:txBody>
          <a:bodyPr/>
          <a:lstStyle/>
          <a:p>
            <a:fld id="{7B0B8F12-24E7-4048-9E1B-B85BF2E1B0B0}" type="slidenum">
              <a:rPr lang="en-US" smtClean="0"/>
              <a:t>41</a:t>
            </a:fld>
            <a:endParaRPr lang="en-US"/>
          </a:p>
        </p:txBody>
      </p:sp>
    </p:spTree>
    <p:extLst>
      <p:ext uri="{BB962C8B-B14F-4D97-AF65-F5344CB8AC3E}">
        <p14:creationId xmlns:p14="http://schemas.microsoft.com/office/powerpoint/2010/main" val="22482831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6C57-A32F-420E-EB7F-708B48985C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F626E-6F08-3E31-5F99-2244644B7E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2D91E-AD75-2717-AD0E-2C8AF952D5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4BA35C-6AB4-1244-DF8C-4DFC2B43CB3E}"/>
              </a:ext>
            </a:extLst>
          </p:cNvPr>
          <p:cNvSpPr>
            <a:spLocks noGrp="1"/>
          </p:cNvSpPr>
          <p:nvPr>
            <p:ph type="sldNum" sz="quarter" idx="5"/>
          </p:nvPr>
        </p:nvSpPr>
        <p:spPr/>
        <p:txBody>
          <a:bodyPr/>
          <a:lstStyle/>
          <a:p>
            <a:fld id="{7B0B8F12-24E7-4048-9E1B-B85BF2E1B0B0}" type="slidenum">
              <a:rPr lang="en-US" smtClean="0"/>
              <a:t>42</a:t>
            </a:fld>
            <a:endParaRPr lang="en-US"/>
          </a:p>
        </p:txBody>
      </p:sp>
    </p:spTree>
    <p:extLst>
      <p:ext uri="{BB962C8B-B14F-4D97-AF65-F5344CB8AC3E}">
        <p14:creationId xmlns:p14="http://schemas.microsoft.com/office/powerpoint/2010/main" val="32539777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468D4-07AC-414C-DA58-6EBAA5F465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39B9B-EAC2-4E78-F29F-FC871A8C23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1DF98E-1F4B-0C52-F9DE-DF8FD3CAAD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90C68C-8010-347B-9161-170E9C8061C7}"/>
              </a:ext>
            </a:extLst>
          </p:cNvPr>
          <p:cNvSpPr>
            <a:spLocks noGrp="1"/>
          </p:cNvSpPr>
          <p:nvPr>
            <p:ph type="sldNum" sz="quarter" idx="5"/>
          </p:nvPr>
        </p:nvSpPr>
        <p:spPr/>
        <p:txBody>
          <a:bodyPr/>
          <a:lstStyle/>
          <a:p>
            <a:fld id="{7B0B8F12-24E7-4048-9E1B-B85BF2E1B0B0}" type="slidenum">
              <a:rPr lang="en-US" smtClean="0"/>
              <a:t>43</a:t>
            </a:fld>
            <a:endParaRPr lang="en-US"/>
          </a:p>
        </p:txBody>
      </p:sp>
    </p:spTree>
    <p:extLst>
      <p:ext uri="{BB962C8B-B14F-4D97-AF65-F5344CB8AC3E}">
        <p14:creationId xmlns:p14="http://schemas.microsoft.com/office/powerpoint/2010/main" val="6926941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0F7BB-7A6D-4ADD-78B2-E5E14D168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D68E41-383F-9D46-0E15-342FDADC3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D5B0FA-52E7-21B6-855F-85165ADE75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D401D7-9767-5E54-47B4-3270213FB0FE}"/>
              </a:ext>
            </a:extLst>
          </p:cNvPr>
          <p:cNvSpPr>
            <a:spLocks noGrp="1"/>
          </p:cNvSpPr>
          <p:nvPr>
            <p:ph type="sldNum" sz="quarter" idx="5"/>
          </p:nvPr>
        </p:nvSpPr>
        <p:spPr/>
        <p:txBody>
          <a:bodyPr/>
          <a:lstStyle/>
          <a:p>
            <a:fld id="{7B0B8F12-24E7-4048-9E1B-B85BF2E1B0B0}" type="slidenum">
              <a:rPr lang="en-US" smtClean="0"/>
              <a:t>44</a:t>
            </a:fld>
            <a:endParaRPr lang="en-US"/>
          </a:p>
        </p:txBody>
      </p:sp>
    </p:spTree>
    <p:extLst>
      <p:ext uri="{BB962C8B-B14F-4D97-AF65-F5344CB8AC3E}">
        <p14:creationId xmlns:p14="http://schemas.microsoft.com/office/powerpoint/2010/main" val="14353818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814BB-88CD-8327-3EB5-01A1C401CE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8C65C-D27D-CBA2-5BC8-E830287174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97392B-E9AD-4B12-6377-8C6599A792E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AE087E-E9B0-03DF-77D6-6AEC9418BDE3}"/>
              </a:ext>
            </a:extLst>
          </p:cNvPr>
          <p:cNvSpPr>
            <a:spLocks noGrp="1"/>
          </p:cNvSpPr>
          <p:nvPr>
            <p:ph type="sldNum" sz="quarter" idx="5"/>
          </p:nvPr>
        </p:nvSpPr>
        <p:spPr/>
        <p:txBody>
          <a:bodyPr/>
          <a:lstStyle/>
          <a:p>
            <a:fld id="{7B0B8F12-24E7-4048-9E1B-B85BF2E1B0B0}" type="slidenum">
              <a:rPr lang="en-US" smtClean="0"/>
              <a:t>45</a:t>
            </a:fld>
            <a:endParaRPr lang="en-US"/>
          </a:p>
        </p:txBody>
      </p:sp>
    </p:spTree>
    <p:extLst>
      <p:ext uri="{BB962C8B-B14F-4D97-AF65-F5344CB8AC3E}">
        <p14:creationId xmlns:p14="http://schemas.microsoft.com/office/powerpoint/2010/main" val="34393806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29C62-2048-8A4B-BB4B-686C1E8BCD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0A45F5-372D-E32C-4C19-DAF06DF1E6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7E61E-A3DB-5A64-7360-9F7ECE4CCB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C0742F-307B-D111-23D3-8DCCF95798E9}"/>
              </a:ext>
            </a:extLst>
          </p:cNvPr>
          <p:cNvSpPr>
            <a:spLocks noGrp="1"/>
          </p:cNvSpPr>
          <p:nvPr>
            <p:ph type="sldNum" sz="quarter" idx="5"/>
          </p:nvPr>
        </p:nvSpPr>
        <p:spPr/>
        <p:txBody>
          <a:bodyPr/>
          <a:lstStyle/>
          <a:p>
            <a:fld id="{7B0B8F12-24E7-4048-9E1B-B85BF2E1B0B0}" type="slidenum">
              <a:rPr lang="en-US" smtClean="0"/>
              <a:t>46</a:t>
            </a:fld>
            <a:endParaRPr lang="en-US"/>
          </a:p>
        </p:txBody>
      </p:sp>
    </p:spTree>
    <p:extLst>
      <p:ext uri="{BB962C8B-B14F-4D97-AF65-F5344CB8AC3E}">
        <p14:creationId xmlns:p14="http://schemas.microsoft.com/office/powerpoint/2010/main" val="40190050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7E390-C21D-DD2C-075C-1F85356DE4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A13C1D-0CB6-F1FB-A2D2-1EAFB469CB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ADCC9-972C-1809-0F84-5B03625E64D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482DB3D-DE8E-5E1E-3845-6D81B5ECCF09}"/>
              </a:ext>
            </a:extLst>
          </p:cNvPr>
          <p:cNvSpPr>
            <a:spLocks noGrp="1"/>
          </p:cNvSpPr>
          <p:nvPr>
            <p:ph type="sldNum" sz="quarter" idx="5"/>
          </p:nvPr>
        </p:nvSpPr>
        <p:spPr/>
        <p:txBody>
          <a:bodyPr/>
          <a:lstStyle/>
          <a:p>
            <a:fld id="{7B0B8F12-24E7-4048-9E1B-B85BF2E1B0B0}" type="slidenum">
              <a:rPr lang="en-US" smtClean="0"/>
              <a:t>47</a:t>
            </a:fld>
            <a:endParaRPr lang="en-US"/>
          </a:p>
        </p:txBody>
      </p:sp>
    </p:spTree>
    <p:extLst>
      <p:ext uri="{BB962C8B-B14F-4D97-AF65-F5344CB8AC3E}">
        <p14:creationId xmlns:p14="http://schemas.microsoft.com/office/powerpoint/2010/main" val="23758007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42FA8-42FE-89BE-7002-E9ED1BD7FB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9DE2DA-9E26-5CAC-51DE-D2C7FC5E33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524D8D-56E0-3718-2FE6-90D5CE0D7DD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1EF56F-2F01-E02D-7D86-532FB574E7FF}"/>
              </a:ext>
            </a:extLst>
          </p:cNvPr>
          <p:cNvSpPr>
            <a:spLocks noGrp="1"/>
          </p:cNvSpPr>
          <p:nvPr>
            <p:ph type="sldNum" sz="quarter" idx="5"/>
          </p:nvPr>
        </p:nvSpPr>
        <p:spPr/>
        <p:txBody>
          <a:bodyPr/>
          <a:lstStyle/>
          <a:p>
            <a:fld id="{7B0B8F12-24E7-4048-9E1B-B85BF2E1B0B0}" type="slidenum">
              <a:rPr lang="en-US" smtClean="0"/>
              <a:t>48</a:t>
            </a:fld>
            <a:endParaRPr lang="en-US"/>
          </a:p>
        </p:txBody>
      </p:sp>
    </p:spTree>
    <p:extLst>
      <p:ext uri="{BB962C8B-B14F-4D97-AF65-F5344CB8AC3E}">
        <p14:creationId xmlns:p14="http://schemas.microsoft.com/office/powerpoint/2010/main" val="34443183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2CA0-E128-BDE3-4AFF-7B5A536BC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E09549-8938-8BEB-E2B8-03D2A0E8A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44D780-FCC1-A1BA-A850-3C6E429731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E1F9A3-489A-5EC9-0BA0-349C5CE7887C}"/>
              </a:ext>
            </a:extLst>
          </p:cNvPr>
          <p:cNvSpPr>
            <a:spLocks noGrp="1"/>
          </p:cNvSpPr>
          <p:nvPr>
            <p:ph type="sldNum" sz="quarter" idx="5"/>
          </p:nvPr>
        </p:nvSpPr>
        <p:spPr/>
        <p:txBody>
          <a:bodyPr/>
          <a:lstStyle/>
          <a:p>
            <a:fld id="{7B0B8F12-24E7-4048-9E1B-B85BF2E1B0B0}" type="slidenum">
              <a:rPr lang="en-US" smtClean="0"/>
              <a:t>49</a:t>
            </a:fld>
            <a:endParaRPr lang="en-US"/>
          </a:p>
        </p:txBody>
      </p:sp>
    </p:spTree>
    <p:extLst>
      <p:ext uri="{BB962C8B-B14F-4D97-AF65-F5344CB8AC3E}">
        <p14:creationId xmlns:p14="http://schemas.microsoft.com/office/powerpoint/2010/main" val="25886928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9456D-3903-4007-72F2-F921E77670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42664-481E-6D95-62BB-11F6767B3D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EDB95-205B-4AC5-1D47-4F10591CD1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732C4E-02DF-7ADC-E009-E7408F5F7DA3}"/>
              </a:ext>
            </a:extLst>
          </p:cNvPr>
          <p:cNvSpPr>
            <a:spLocks noGrp="1"/>
          </p:cNvSpPr>
          <p:nvPr>
            <p:ph type="sldNum" sz="quarter" idx="5"/>
          </p:nvPr>
        </p:nvSpPr>
        <p:spPr/>
        <p:txBody>
          <a:bodyPr/>
          <a:lstStyle/>
          <a:p>
            <a:fld id="{7B0B8F12-24E7-4048-9E1B-B85BF2E1B0B0}" type="slidenum">
              <a:rPr lang="en-US" smtClean="0"/>
              <a:t>50</a:t>
            </a:fld>
            <a:endParaRPr lang="en-US"/>
          </a:p>
        </p:txBody>
      </p:sp>
    </p:spTree>
    <p:extLst>
      <p:ext uri="{BB962C8B-B14F-4D97-AF65-F5344CB8AC3E}">
        <p14:creationId xmlns:p14="http://schemas.microsoft.com/office/powerpoint/2010/main" val="529327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93B9F-F119-AA86-26D7-D79ECF94D0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EF5FBB-33EE-B297-49EC-D8A1BEB4B3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4EB9C7-2F39-096D-201C-F65A41631B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40E8EB-3295-0F5F-8DCF-F160056B6E22}"/>
              </a:ext>
            </a:extLst>
          </p:cNvPr>
          <p:cNvSpPr>
            <a:spLocks noGrp="1"/>
          </p:cNvSpPr>
          <p:nvPr>
            <p:ph type="sldNum" sz="quarter" idx="5"/>
          </p:nvPr>
        </p:nvSpPr>
        <p:spPr/>
        <p:txBody>
          <a:bodyPr/>
          <a:lstStyle/>
          <a:p>
            <a:fld id="{7B0B8F12-24E7-4048-9E1B-B85BF2E1B0B0}" type="slidenum">
              <a:rPr lang="en-US" smtClean="0"/>
              <a:t>6</a:t>
            </a:fld>
            <a:endParaRPr lang="en-US"/>
          </a:p>
        </p:txBody>
      </p:sp>
    </p:spTree>
    <p:extLst>
      <p:ext uri="{BB962C8B-B14F-4D97-AF65-F5344CB8AC3E}">
        <p14:creationId xmlns:p14="http://schemas.microsoft.com/office/powerpoint/2010/main" val="1658046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7</a:t>
            </a:fld>
            <a:endParaRPr lang="en-US"/>
          </a:p>
        </p:txBody>
      </p:sp>
    </p:spTree>
    <p:extLst>
      <p:ext uri="{BB962C8B-B14F-4D97-AF65-F5344CB8AC3E}">
        <p14:creationId xmlns:p14="http://schemas.microsoft.com/office/powerpoint/2010/main" val="2044959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0B8F12-24E7-4048-9E1B-B85BF2E1B0B0}" type="slidenum">
              <a:rPr lang="en-US" smtClean="0"/>
              <a:t>8</a:t>
            </a:fld>
            <a:endParaRPr lang="en-US"/>
          </a:p>
        </p:txBody>
      </p:sp>
    </p:spTree>
    <p:extLst>
      <p:ext uri="{BB962C8B-B14F-4D97-AF65-F5344CB8AC3E}">
        <p14:creationId xmlns:p14="http://schemas.microsoft.com/office/powerpoint/2010/main" val="2513107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FA2BB-2BB9-CD38-61B3-C99FA70DEB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14695-4123-5F4A-2FDF-4FDEE3DFC2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958F8-202E-703A-323C-EED169F6F74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1B6939-5000-CF17-F7AB-C56D9D35D54B}"/>
              </a:ext>
            </a:extLst>
          </p:cNvPr>
          <p:cNvSpPr>
            <a:spLocks noGrp="1"/>
          </p:cNvSpPr>
          <p:nvPr>
            <p:ph type="sldNum" sz="quarter" idx="5"/>
          </p:nvPr>
        </p:nvSpPr>
        <p:spPr/>
        <p:txBody>
          <a:bodyPr/>
          <a:lstStyle/>
          <a:p>
            <a:fld id="{7B0B8F12-24E7-4048-9E1B-B85BF2E1B0B0}" type="slidenum">
              <a:rPr lang="en-US" smtClean="0"/>
              <a:t>9</a:t>
            </a:fld>
            <a:endParaRPr lang="en-US"/>
          </a:p>
        </p:txBody>
      </p:sp>
    </p:spTree>
    <p:extLst>
      <p:ext uri="{BB962C8B-B14F-4D97-AF65-F5344CB8AC3E}">
        <p14:creationId xmlns:p14="http://schemas.microsoft.com/office/powerpoint/2010/main" val="882408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662F0-1DDC-FB5C-D693-69C84B7F0E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811FD7-A54D-ACDC-8500-FCC2E9BCE2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67491F-4E26-3DC1-12BA-6DAD5AB3AD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595122-4290-65FB-6911-A3B6CB967148}"/>
              </a:ext>
            </a:extLst>
          </p:cNvPr>
          <p:cNvSpPr>
            <a:spLocks noGrp="1"/>
          </p:cNvSpPr>
          <p:nvPr>
            <p:ph type="sldNum" sz="quarter" idx="5"/>
          </p:nvPr>
        </p:nvSpPr>
        <p:spPr/>
        <p:txBody>
          <a:bodyPr/>
          <a:lstStyle/>
          <a:p>
            <a:fld id="{7B0B8F12-24E7-4048-9E1B-B85BF2E1B0B0}" type="slidenum">
              <a:rPr lang="en-US" smtClean="0"/>
              <a:t>10</a:t>
            </a:fld>
            <a:endParaRPr lang="en-US"/>
          </a:p>
        </p:txBody>
      </p:sp>
    </p:spTree>
    <p:extLst>
      <p:ext uri="{BB962C8B-B14F-4D97-AF65-F5344CB8AC3E}">
        <p14:creationId xmlns:p14="http://schemas.microsoft.com/office/powerpoint/2010/main" val="4223883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The State of Texas Seal">
            <a:extLst>
              <a:ext uri="{FF2B5EF4-FFF2-40B4-BE49-F238E27FC236}">
                <a16:creationId xmlns:a16="http://schemas.microsoft.com/office/drawing/2014/main" id="{31BB127F-D717-50DE-7E81-66E591CC6B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039" y="-8225"/>
            <a:ext cx="12207234" cy="5964447"/>
          </a:xfrm>
          <a:prstGeom prst="rect">
            <a:avLst/>
          </a:prstGeom>
        </p:spPr>
      </p:pic>
      <p:pic>
        <p:nvPicPr>
          <p:cNvPr id="8" name="Graphic 7" descr="Texas Education Agency">
            <a:extLst>
              <a:ext uri="{FF2B5EF4-FFF2-40B4-BE49-F238E27FC236}">
                <a16:creationId xmlns:a16="http://schemas.microsoft.com/office/drawing/2014/main" id="{4E995F3D-465F-FCA4-2AA9-05CEFA915E5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921" y="6093753"/>
            <a:ext cx="1274158" cy="637080"/>
          </a:xfrm>
          <a:prstGeom prst="rect">
            <a:avLst/>
          </a:prstGeom>
        </p:spPr>
      </p:pic>
    </p:spTree>
    <p:extLst>
      <p:ext uri="{BB962C8B-B14F-4D97-AF65-F5344CB8AC3E}">
        <p14:creationId xmlns:p14="http://schemas.microsoft.com/office/powerpoint/2010/main" val="2356807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7332E0B-AAE7-7F99-41A0-8219AC19C2C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06" y="12996"/>
            <a:ext cx="2970836" cy="6851885"/>
          </a:xfrm>
          <a:prstGeom prst="rect">
            <a:avLst/>
          </a:prstGeom>
        </p:spPr>
      </p:pic>
      <p:sp>
        <p:nvSpPr>
          <p:cNvPr id="3" name="Rectangle 2">
            <a:extLst>
              <a:ext uri="{FF2B5EF4-FFF2-40B4-BE49-F238E27FC236}">
                <a16:creationId xmlns:a16="http://schemas.microsoft.com/office/drawing/2014/main" id="{D3F9C57B-E1F6-79F7-AC5C-788E1B323D5E}"/>
              </a:ext>
              <a:ext uri="{C183D7F6-B498-43B3-948B-1728B52AA6E4}">
                <adec:decorative xmlns:adec="http://schemas.microsoft.com/office/drawing/2017/decorative" val="1"/>
              </a:ext>
            </a:extLst>
          </p:cNvPr>
          <p:cNvSpPr/>
          <p:nvPr userDrawn="1"/>
        </p:nvSpPr>
        <p:spPr>
          <a:xfrm>
            <a:off x="1458747" y="2640026"/>
            <a:ext cx="2025233" cy="1642607"/>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85632"/>
              </a:solidFill>
            </a:endParaRPr>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3657612" y="2878742"/>
            <a:ext cx="9386446" cy="1100516"/>
          </a:xfrm>
          <a:noFill/>
          <a:ln>
            <a:noFill/>
          </a:ln>
        </p:spPr>
        <p:txBody>
          <a:bodyPr anchor="b">
            <a:noAutofit/>
          </a:bodyPr>
          <a:lstStyle>
            <a:lvl1pPr algn="l">
              <a:defRPr sz="4800">
                <a:solidFill>
                  <a:srgbClr val="0B61AB"/>
                </a:solidFill>
                <a:latin typeface="Aptos" panose="020B0004020202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A9D303A5-46AA-F661-A45F-3A9D12A0DC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pic>
        <p:nvPicPr>
          <p:cNvPr id="6" name="Picture 5" descr="Texas Education Agency">
            <a:extLst>
              <a:ext uri="{FF2B5EF4-FFF2-40B4-BE49-F238E27FC236}">
                <a16:creationId xmlns:a16="http://schemas.microsoft.com/office/drawing/2014/main" id="{02257510-B9E9-77C8-FBE0-44DF380ED1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50228" y="3147905"/>
            <a:ext cx="1274948" cy="626848"/>
          </a:xfrm>
          <a:prstGeom prst="rect">
            <a:avLst/>
          </a:prstGeom>
        </p:spPr>
      </p:pic>
    </p:spTree>
    <p:extLst>
      <p:ext uri="{BB962C8B-B14F-4D97-AF65-F5344CB8AC3E}">
        <p14:creationId xmlns:p14="http://schemas.microsoft.com/office/powerpoint/2010/main" val="784685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4BC11C-8A33-EECC-6AE4-874AFA26967E}"/>
              </a:ext>
              <a:ext uri="{C183D7F6-B498-43B3-948B-1728B52AA6E4}">
                <adec:decorative xmlns:adec="http://schemas.microsoft.com/office/drawing/2017/decorative" val="1"/>
              </a:ext>
            </a:extLst>
          </p:cNvPr>
          <p:cNvSpPr/>
          <p:nvPr userDrawn="1"/>
        </p:nvSpPr>
        <p:spPr>
          <a:xfrm>
            <a:off x="0" y="0"/>
            <a:ext cx="2048719" cy="6857999"/>
          </a:xfrm>
          <a:prstGeom prst="rect">
            <a:avLst/>
          </a:prstGeom>
          <a:solidFill>
            <a:srgbClr val="0B61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12169"/>
              </a:solidFill>
            </a:endParaRPr>
          </a:p>
        </p:txBody>
      </p:sp>
      <p:sp>
        <p:nvSpPr>
          <p:cNvPr id="9" name="Rectangle 8">
            <a:extLst>
              <a:ext uri="{FF2B5EF4-FFF2-40B4-BE49-F238E27FC236}">
                <a16:creationId xmlns:a16="http://schemas.microsoft.com/office/drawing/2014/main" id="{DDA913AB-5A93-9177-853B-252564C6D220}"/>
              </a:ext>
              <a:ext uri="{C183D7F6-B498-43B3-948B-1728B52AA6E4}">
                <adec:decorative xmlns:adec="http://schemas.microsoft.com/office/drawing/2017/decorative" val="1"/>
              </a:ext>
            </a:extLst>
          </p:cNvPr>
          <p:cNvSpPr/>
          <p:nvPr userDrawn="1"/>
        </p:nvSpPr>
        <p:spPr>
          <a:xfrm>
            <a:off x="1354577" y="347241"/>
            <a:ext cx="1319176" cy="1253883"/>
          </a:xfrm>
          <a:prstGeom prst="rect">
            <a:avLst/>
          </a:prstGeom>
          <a:solidFill>
            <a:srgbClr val="F1603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Texas Education Agency">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0836" y="761129"/>
            <a:ext cx="866658" cy="426106"/>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16514" y="647076"/>
            <a:ext cx="8647949" cy="679730"/>
          </a:xfrm>
          <a:noFill/>
          <a:ln>
            <a:noFill/>
          </a:ln>
        </p:spPr>
        <p:txBody>
          <a:bodyPr anchor="b">
            <a:noAutofit/>
          </a:bodyPr>
          <a:lstStyle>
            <a:lvl1pPr algn="l">
              <a:defRPr sz="4000">
                <a:solidFill>
                  <a:srgbClr val="0B61AB"/>
                </a:solidFill>
                <a:latin typeface="Aptos" panose="020B00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C90A4145-C638-6763-56B7-DB56D7F85CF4}"/>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22227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2_Title and Conten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F908D3E-6929-860C-8364-D47F1B76F59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10170"/>
            <a:ext cx="12192120" cy="1016010"/>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Aptos" panose="020B0004020202020204" pitchFamily="34" charset="0"/>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latin typeface="Aptos" panose="020B0004020202020204" pitchFamily="34" charset="0"/>
              </a:defRPr>
            </a:lvl1pPr>
            <a:lvl2pPr>
              <a:buClr>
                <a:schemeClr val="accent2"/>
              </a:buClr>
              <a:defRPr>
                <a:solidFill>
                  <a:schemeClr val="accent1"/>
                </a:solidFill>
                <a:latin typeface="Aptos" panose="020B0004020202020204" pitchFamily="34" charset="0"/>
              </a:defRPr>
            </a:lvl2pPr>
            <a:lvl3pPr>
              <a:buClr>
                <a:schemeClr val="accent2"/>
              </a:buClr>
              <a:defRPr>
                <a:solidFill>
                  <a:schemeClr val="accent1"/>
                </a:solidFill>
                <a:latin typeface="Aptos" panose="020B0004020202020204" pitchFamily="34" charset="0"/>
              </a:defRPr>
            </a:lvl3pPr>
            <a:lvl4pPr>
              <a:buClr>
                <a:schemeClr val="accent2"/>
              </a:buClr>
              <a:defRPr>
                <a:solidFill>
                  <a:schemeClr val="accent1"/>
                </a:solidFill>
                <a:latin typeface="Aptos" panose="020B0004020202020204" pitchFamily="34" charset="0"/>
              </a:defRPr>
            </a:lvl4pPr>
            <a:lvl5pPr>
              <a:buClr>
                <a:schemeClr val="accent2"/>
              </a:buClr>
              <a:defRPr>
                <a:solidFill>
                  <a:schemeClr val="accent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Texas Education Agency">
            <a:extLst>
              <a:ext uri="{FF2B5EF4-FFF2-40B4-BE49-F238E27FC236}">
                <a16:creationId xmlns:a16="http://schemas.microsoft.com/office/drawing/2014/main" id="{884B3B1F-4F78-A294-A0CE-5F5AE936FF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9517" y="303936"/>
            <a:ext cx="1006206" cy="494717"/>
          </a:xfrm>
          <a:prstGeom prst="rect">
            <a:avLst/>
          </a:prstGeom>
        </p:spPr>
      </p:pic>
      <p:sp>
        <p:nvSpPr>
          <p:cNvPr id="9" name="Slide Number Placeholder 5">
            <a:extLst>
              <a:ext uri="{FF2B5EF4-FFF2-40B4-BE49-F238E27FC236}">
                <a16:creationId xmlns:a16="http://schemas.microsoft.com/office/drawing/2014/main" id="{53027CB0-E6C8-8156-8726-C3567C092740}"/>
              </a:ext>
            </a:extLst>
          </p:cNvPr>
          <p:cNvSpPr>
            <a:spLocks noGrp="1"/>
          </p:cNvSpPr>
          <p:nvPr>
            <p:ph type="sldNum" sz="quarter" idx="4"/>
          </p:nvPr>
        </p:nvSpPr>
        <p:spPr>
          <a:xfrm>
            <a:off x="9086849"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Aptos" panose="020B0004020202020204" pitchFamily="34" charset="0"/>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16002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A27D14-2446-2B00-8A61-1244EDC60286}"/>
              </a:ext>
            </a:extLst>
          </p:cNvPr>
          <p:cNvGraphicFramePr>
            <a:graphicFrameLocks noChangeAspect="1"/>
          </p:cNvGraphicFramePr>
          <p:nvPr userDrawn="1">
            <p:custDataLst>
              <p:tags r:id="rId6"/>
            </p:custDataLst>
            <p:extLst>
              <p:ext uri="{D42A27DB-BD31-4B8C-83A1-F6EECF244321}">
                <p14:modId xmlns:p14="http://schemas.microsoft.com/office/powerpoint/2010/main" val="354664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35" imgH="435" progId="TCLayout.ActiveDocument.1">
                  <p:embed/>
                </p:oleObj>
              </mc:Choice>
              <mc:Fallback>
                <p:oleObj name="think-cell Slide" r:id="rId7" imgW="435" imgH="435" progId="TCLayout.ActiveDocument.1">
                  <p:embed/>
                  <p:pic>
                    <p:nvPicPr>
                      <p:cNvPr id="7" name="think-cell data - do not delete" hidden="1">
                        <a:extLst>
                          <a:ext uri="{FF2B5EF4-FFF2-40B4-BE49-F238E27FC236}">
                            <a16:creationId xmlns:a16="http://schemas.microsoft.com/office/drawing/2014/main" id="{A9A27D14-2446-2B00-8A61-1244EDC602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855649019"/>
      </p:ext>
    </p:extLst>
  </p:cSld>
  <p:clrMap bg1="lt1" tx1="dk1" bg2="lt2" tx2="dk2" accent1="accent1" accent2="accent2" accent3="accent3" accent4="accent4" accent5="accent5" accent6="accent6" hlink="hlink" folHlink="folHlink"/>
  <p:sldLayoutIdLst>
    <p:sldLayoutId id="2147483819" r:id="rId1"/>
    <p:sldLayoutId id="2147483825" r:id="rId2"/>
    <p:sldLayoutId id="2147483826" r:id="rId3"/>
    <p:sldLayoutId id="2147483827" r:id="rId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CDB7216-528E-3005-245A-24D9A1498BDF}"/>
              </a:ext>
            </a:extLst>
          </p:cNvPr>
          <p:cNvSpPr txBox="1">
            <a:spLocks noGrp="1"/>
          </p:cNvSpPr>
          <p:nvPr>
            <p:ph type="title" idx="4294967295"/>
          </p:nvPr>
        </p:nvSpPr>
        <p:spPr>
          <a:xfrm>
            <a:off x="632926" y="2090057"/>
            <a:ext cx="10926147" cy="214502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ctr" defTabSz="914400" rtl="0" eaLnBrk="1" latinLnBrk="0" hangingPunct="1">
              <a:lnSpc>
                <a:spcPct val="90000"/>
              </a:lnSpc>
              <a:spcBef>
                <a:spcPct val="0"/>
              </a:spcBef>
              <a:buNone/>
              <a:defRPr sz="4800" b="1" kern="1200">
                <a:solidFill>
                  <a:schemeClr val="bg1"/>
                </a:solidFill>
                <a:latin typeface="Aptos" panose="020B00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Texas Education Data Standards: </a:t>
            </a:r>
            <a:b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b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Updates from the 89</a:t>
            </a:r>
            <a:r>
              <a:rPr kumimoji="0" lang="en-US" sz="4800" b="1" i="0" u="none" strike="noStrike" kern="1200" cap="none" spc="0" normalizeH="0" noProof="0">
                <a:ln>
                  <a:noFill/>
                </a:ln>
                <a:solidFill>
                  <a:schemeClr val="bg1"/>
                </a:solidFill>
                <a:effectLst/>
                <a:uLnTx/>
                <a:uFillTx/>
                <a:latin typeface="Aptos" panose="020B0004020202020204" pitchFamily="34" charset="0"/>
                <a:ea typeface="+mj-ea"/>
                <a:cs typeface="+mj-cs"/>
              </a:rPr>
              <a:t>th</a:t>
            </a:r>
            <a:r>
              <a:rPr kumimoji="0" lang="en-US" sz="4800" b="1" i="0" u="none" strike="noStrike" kern="1200" cap="none" spc="0" normalizeH="0" baseline="0" noProof="0">
                <a:ln>
                  <a:noFill/>
                </a:ln>
                <a:solidFill>
                  <a:schemeClr val="bg1"/>
                </a:solidFill>
                <a:effectLst/>
                <a:uLnTx/>
                <a:uFillTx/>
                <a:latin typeface="Aptos" panose="020B0004020202020204" pitchFamily="34" charset="0"/>
                <a:ea typeface="+mj-ea"/>
                <a:cs typeface="+mj-cs"/>
              </a:rPr>
              <a:t> Regular Legislative Session</a:t>
            </a:r>
          </a:p>
        </p:txBody>
      </p:sp>
    </p:spTree>
    <p:extLst>
      <p:ext uri="{BB962C8B-B14F-4D97-AF65-F5344CB8AC3E}">
        <p14:creationId xmlns:p14="http://schemas.microsoft.com/office/powerpoint/2010/main" val="4130700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F9CD-F13A-A6B7-864C-90510A153CC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F06A03-DC44-1D5F-BEF0-44D8D60891CD}"/>
              </a:ext>
            </a:extLst>
          </p:cNvPr>
          <p:cNvSpPr>
            <a:spLocks noGrp="1"/>
          </p:cNvSpPr>
          <p:nvPr>
            <p:ph type="title"/>
          </p:nvPr>
        </p:nvSpPr>
        <p:spPr/>
        <p:txBody>
          <a:bodyPr/>
          <a:lstStyle/>
          <a:p>
            <a:r>
              <a:rPr lang="en-US"/>
              <a:t>HB 2 – Section 5.13</a:t>
            </a:r>
          </a:p>
        </p:txBody>
      </p:sp>
      <p:sp>
        <p:nvSpPr>
          <p:cNvPr id="6" name="Content Placeholder 5">
            <a:extLst>
              <a:ext uri="{FF2B5EF4-FFF2-40B4-BE49-F238E27FC236}">
                <a16:creationId xmlns:a16="http://schemas.microsoft.com/office/drawing/2014/main" id="{22D80521-C119-4558-3A69-32A647093359}"/>
              </a:ext>
            </a:extLst>
          </p:cNvPr>
          <p:cNvSpPr>
            <a:spLocks noGrp="1"/>
          </p:cNvSpPr>
          <p:nvPr>
            <p:ph idx="1"/>
          </p:nvPr>
        </p:nvSpPr>
        <p:spPr>
          <a:xfrm>
            <a:off x="285468" y="1496253"/>
            <a:ext cx="11544581" cy="2986652"/>
          </a:xfrm>
        </p:spPr>
        <p:txBody>
          <a:bodyPr/>
          <a:lstStyle/>
          <a:p>
            <a:r>
              <a:rPr lang="en-US">
                <a:solidFill>
                  <a:srgbClr val="F47F42"/>
                </a:solidFill>
              </a:rPr>
              <a:t>HB 2 Section 5.13</a:t>
            </a:r>
            <a:r>
              <a:rPr lang="en-US"/>
              <a:t>, amends TEC §29.153(b), to include in the qualifications for </a:t>
            </a:r>
            <a:r>
              <a:rPr lang="en-US">
                <a:solidFill>
                  <a:srgbClr val="F47F42"/>
                </a:solidFill>
              </a:rPr>
              <a:t>free prekindergarten </a:t>
            </a:r>
            <a:r>
              <a:rPr lang="en-US"/>
              <a:t>a child who is at least three years of age and is the child of a person employed as a classroom teacher at a public primary or secondary school in the Local Education Agency (LEA) that offers a prekindergarten class under this section.</a:t>
            </a:r>
          </a:p>
        </p:txBody>
      </p:sp>
      <p:sp>
        <p:nvSpPr>
          <p:cNvPr id="4" name="Slide Number Placeholder 3">
            <a:extLst>
              <a:ext uri="{FF2B5EF4-FFF2-40B4-BE49-F238E27FC236}">
                <a16:creationId xmlns:a16="http://schemas.microsoft.com/office/drawing/2014/main" id="{7087F9C1-1CFD-C08D-3C13-1DAE18212363}"/>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1007712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C2A94-0F70-EDF9-5680-17B6B23BE0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B569B7C-7C51-DA78-8697-AFA9359A419D}"/>
              </a:ext>
            </a:extLst>
          </p:cNvPr>
          <p:cNvSpPr>
            <a:spLocks noGrp="1"/>
          </p:cNvSpPr>
          <p:nvPr>
            <p:ph type="title"/>
          </p:nvPr>
        </p:nvSpPr>
        <p:spPr/>
        <p:txBody>
          <a:bodyPr/>
          <a:lstStyle/>
          <a:p>
            <a:r>
              <a:rPr lang="en-US"/>
              <a:t>HB 2 – Section 5.13 – Possible Impact</a:t>
            </a:r>
          </a:p>
        </p:txBody>
      </p:sp>
      <p:sp>
        <p:nvSpPr>
          <p:cNvPr id="6" name="Content Placeholder 5">
            <a:extLst>
              <a:ext uri="{FF2B5EF4-FFF2-40B4-BE49-F238E27FC236}">
                <a16:creationId xmlns:a16="http://schemas.microsoft.com/office/drawing/2014/main" id="{154CE1F0-CA8D-E58D-116B-44CE1FB3A2A7}"/>
              </a:ext>
            </a:extLst>
          </p:cNvPr>
          <p:cNvSpPr>
            <a:spLocks noGrp="1"/>
          </p:cNvSpPr>
          <p:nvPr>
            <p:ph idx="1"/>
          </p:nvPr>
        </p:nvSpPr>
        <p:spPr/>
        <p:txBody>
          <a:bodyPr/>
          <a:lstStyle/>
          <a:p>
            <a:pPr>
              <a:buClr>
                <a:srgbClr val="F47F42"/>
              </a:buClr>
            </a:pPr>
            <a:r>
              <a:rPr lang="en-US">
                <a:solidFill>
                  <a:srgbClr val="F47F42"/>
                </a:solidFill>
              </a:rPr>
              <a:t>HB 2 Section</a:t>
            </a:r>
            <a:r>
              <a:rPr lang="en-US"/>
              <a:t> </a:t>
            </a:r>
            <a:r>
              <a:rPr lang="en-US">
                <a:solidFill>
                  <a:srgbClr val="F47F42"/>
                </a:solidFill>
              </a:rPr>
              <a:t>5.13</a:t>
            </a:r>
            <a:endParaRPr lang="en-US"/>
          </a:p>
          <a:p>
            <a:pPr marL="457200" lvl="1" indent="0">
              <a:buClr>
                <a:srgbClr val="F47F42"/>
              </a:buClr>
              <a:buNone/>
            </a:pPr>
            <a:r>
              <a:rPr lang="en-US">
                <a:solidFill>
                  <a:srgbClr val="F47F42"/>
                </a:solidFill>
              </a:rPr>
              <a:t>Texas Student Data System (TSDS):</a:t>
            </a:r>
          </a:p>
          <a:p>
            <a:pPr lvl="1">
              <a:buClr>
                <a:srgbClr val="F47F42"/>
              </a:buClr>
            </a:pPr>
            <a:r>
              <a:rPr lang="en-US"/>
              <a:t>One new </a:t>
            </a:r>
            <a:r>
              <a:rPr lang="en-US" i="1"/>
              <a:t>StudentCharacteristic</a:t>
            </a:r>
            <a:r>
              <a:rPr lang="en-US"/>
              <a:t> (C344) descriptor. </a:t>
            </a:r>
          </a:p>
          <a:p>
            <a:pPr lvl="1">
              <a:buClr>
                <a:srgbClr val="F47F42"/>
              </a:buClr>
            </a:pPr>
            <a:r>
              <a:rPr lang="en-US"/>
              <a:t>Revision of the special instructions for one existing </a:t>
            </a:r>
            <a:r>
              <a:rPr lang="en-US" i="1"/>
              <a:t>StudentCharacteristic </a:t>
            </a:r>
            <a:r>
              <a:rPr lang="en-US"/>
              <a:t>descriptor, </a:t>
            </a:r>
            <a:r>
              <a:rPr lang="en-US" i="1"/>
              <a:t>11</a:t>
            </a:r>
            <a:r>
              <a:rPr lang="en-US"/>
              <a:t> (PK Eligible Prior Year).</a:t>
            </a:r>
          </a:p>
          <a:p>
            <a:pPr marL="457200" lvl="1" indent="0">
              <a:buClr>
                <a:srgbClr val="F47F42"/>
              </a:buClr>
              <a:buNone/>
            </a:pPr>
            <a:r>
              <a:rPr lang="en-US">
                <a:solidFill>
                  <a:srgbClr val="F47F42"/>
                </a:solidFill>
              </a:rPr>
              <a:t>Texas Records Exchange (TREx):</a:t>
            </a:r>
          </a:p>
          <a:p>
            <a:pPr lvl="1">
              <a:buClr>
                <a:srgbClr val="F47F42"/>
              </a:buClr>
            </a:pPr>
            <a:r>
              <a:rPr lang="en-US"/>
              <a:t>One new data element added and revision of the special instructions for the PK-ELIGIBLE-PREVIOUS-YEAR-INDICATOR-CODE (TE138).</a:t>
            </a:r>
          </a:p>
        </p:txBody>
      </p:sp>
      <p:sp>
        <p:nvSpPr>
          <p:cNvPr id="2" name="TextBox 1">
            <a:extLst>
              <a:ext uri="{FF2B5EF4-FFF2-40B4-BE49-F238E27FC236}">
                <a16:creationId xmlns:a16="http://schemas.microsoft.com/office/drawing/2014/main" id="{48DEA030-6A56-DC2B-1899-0C0506548DEF}"/>
              </a:ext>
            </a:extLst>
          </p:cNvPr>
          <p:cNvSpPr txBox="1"/>
          <p:nvPr/>
        </p:nvSpPr>
        <p:spPr>
          <a:xfrm>
            <a:off x="285468" y="5836628"/>
            <a:ext cx="10612687"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 and TREx</a:t>
            </a:r>
          </a:p>
        </p:txBody>
      </p:sp>
      <p:sp>
        <p:nvSpPr>
          <p:cNvPr id="4" name="Slide Number Placeholder 3">
            <a:extLst>
              <a:ext uri="{FF2B5EF4-FFF2-40B4-BE49-F238E27FC236}">
                <a16:creationId xmlns:a16="http://schemas.microsoft.com/office/drawing/2014/main" id="{D4AF9EE5-17F5-892F-C6B8-6F21BEF8354B}"/>
              </a:ext>
            </a:extLst>
          </p:cNvPr>
          <p:cNvSpPr>
            <a:spLocks noGrp="1"/>
          </p:cNvSpPr>
          <p:nvPr>
            <p:ph type="sldNum" sz="quarter" idx="4"/>
          </p:nvPr>
        </p:nvSpPr>
        <p:spPr/>
        <p:txBody>
          <a:bodyPr/>
          <a:lstStyle/>
          <a:p>
            <a:fld id="{69C126A4-BD19-47E2-8A0E-0DE1B9D8C925}" type="slidenum">
              <a:rPr lang="en-US" smtClean="0"/>
              <a:pPr/>
              <a:t>11</a:t>
            </a:fld>
            <a:endParaRPr lang="en-US"/>
          </a:p>
        </p:txBody>
      </p:sp>
    </p:spTree>
    <p:extLst>
      <p:ext uri="{BB962C8B-B14F-4D97-AF65-F5344CB8AC3E}">
        <p14:creationId xmlns:p14="http://schemas.microsoft.com/office/powerpoint/2010/main" val="4140108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FD56B-999C-57AD-0A46-B65B46BA55A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B2A098E-339B-7564-C2DD-44FA1F17BD51}"/>
              </a:ext>
            </a:extLst>
          </p:cNvPr>
          <p:cNvSpPr>
            <a:spLocks noGrp="1"/>
          </p:cNvSpPr>
          <p:nvPr>
            <p:ph type="title"/>
          </p:nvPr>
        </p:nvSpPr>
        <p:spPr/>
        <p:txBody>
          <a:bodyPr/>
          <a:lstStyle/>
          <a:p>
            <a:r>
              <a:rPr lang="en-US"/>
              <a:t>HB 2 – Section 5.24</a:t>
            </a:r>
          </a:p>
        </p:txBody>
      </p:sp>
      <p:sp>
        <p:nvSpPr>
          <p:cNvPr id="6" name="Content Placeholder 5">
            <a:extLst>
              <a:ext uri="{FF2B5EF4-FFF2-40B4-BE49-F238E27FC236}">
                <a16:creationId xmlns:a16="http://schemas.microsoft.com/office/drawing/2014/main" id="{DFB1D130-ECD8-36A2-888B-4D9DD83448F8}"/>
              </a:ext>
            </a:extLst>
          </p:cNvPr>
          <p:cNvSpPr>
            <a:spLocks noGrp="1"/>
          </p:cNvSpPr>
          <p:nvPr>
            <p:ph idx="1"/>
          </p:nvPr>
        </p:nvSpPr>
        <p:spPr>
          <a:xfrm>
            <a:off x="285468" y="1496253"/>
            <a:ext cx="11544581" cy="3122639"/>
          </a:xfrm>
        </p:spPr>
        <p:txBody>
          <a:bodyPr/>
          <a:lstStyle/>
          <a:p>
            <a:r>
              <a:rPr lang="en-US">
                <a:solidFill>
                  <a:srgbClr val="F47F42"/>
                </a:solidFill>
              </a:rPr>
              <a:t>HB 2 Section 5.24</a:t>
            </a:r>
            <a:r>
              <a:rPr lang="en-US"/>
              <a:t> amends TEC §48.0051, which provides the requirements for the </a:t>
            </a:r>
            <a:r>
              <a:rPr lang="en-US">
                <a:solidFill>
                  <a:srgbClr val="F47F42"/>
                </a:solidFill>
              </a:rPr>
              <a:t>Additional Days School Year Program </a:t>
            </a:r>
            <a:r>
              <a:rPr lang="en-US"/>
              <a:t>(ADSY). The number of days of instruction to be funded for ADSY drops from 180 to 175 days. Additionally, the grade levels approved for ADSY funding have been changed from prekindergarten through fifth to prekindergarten through eighth. </a:t>
            </a:r>
          </a:p>
        </p:txBody>
      </p:sp>
      <p:sp>
        <p:nvSpPr>
          <p:cNvPr id="4" name="Slide Number Placeholder 3">
            <a:extLst>
              <a:ext uri="{FF2B5EF4-FFF2-40B4-BE49-F238E27FC236}">
                <a16:creationId xmlns:a16="http://schemas.microsoft.com/office/drawing/2014/main" id="{BD494596-7505-8140-0A0A-0F15F63F9344}"/>
              </a:ext>
            </a:extLst>
          </p:cNvPr>
          <p:cNvSpPr>
            <a:spLocks noGrp="1"/>
          </p:cNvSpPr>
          <p:nvPr>
            <p:ph type="sldNum" sz="quarter" idx="4"/>
          </p:nvPr>
        </p:nvSpPr>
        <p:spPr/>
        <p:txBody>
          <a:bodyPr/>
          <a:lstStyle/>
          <a:p>
            <a:fld id="{69C126A4-BD19-47E2-8A0E-0DE1B9D8C925}" type="slidenum">
              <a:rPr lang="en-US" smtClean="0"/>
              <a:pPr/>
              <a:t>12</a:t>
            </a:fld>
            <a:endParaRPr lang="en-US"/>
          </a:p>
        </p:txBody>
      </p:sp>
    </p:spTree>
    <p:extLst>
      <p:ext uri="{BB962C8B-B14F-4D97-AF65-F5344CB8AC3E}">
        <p14:creationId xmlns:p14="http://schemas.microsoft.com/office/powerpoint/2010/main" val="434198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C1C25-6160-0AB3-951E-4E208DB39DF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06CA10C-9F84-7E8A-6C27-9C5F7A4C2A58}"/>
              </a:ext>
            </a:extLst>
          </p:cNvPr>
          <p:cNvSpPr>
            <a:spLocks noGrp="1"/>
          </p:cNvSpPr>
          <p:nvPr>
            <p:ph type="title"/>
          </p:nvPr>
        </p:nvSpPr>
        <p:spPr/>
        <p:txBody>
          <a:bodyPr/>
          <a:lstStyle/>
          <a:p>
            <a:r>
              <a:rPr lang="en-US"/>
              <a:t>HB 2 – Section 5.24 – Possible Impact</a:t>
            </a:r>
          </a:p>
        </p:txBody>
      </p:sp>
      <p:sp>
        <p:nvSpPr>
          <p:cNvPr id="4" name="Slide Number Placeholder 3">
            <a:extLst>
              <a:ext uri="{FF2B5EF4-FFF2-40B4-BE49-F238E27FC236}">
                <a16:creationId xmlns:a16="http://schemas.microsoft.com/office/drawing/2014/main" id="{82845BC9-3F96-A58B-8E41-452B442F97C8}"/>
              </a:ext>
            </a:extLst>
          </p:cNvPr>
          <p:cNvSpPr>
            <a:spLocks noGrp="1"/>
          </p:cNvSpPr>
          <p:nvPr>
            <p:ph type="sldNum" sz="quarter" idx="4"/>
          </p:nvPr>
        </p:nvSpPr>
        <p:spPr/>
        <p:txBody>
          <a:bodyPr/>
          <a:lstStyle/>
          <a:p>
            <a:fld id="{69C126A4-BD19-47E2-8A0E-0DE1B9D8C925}" type="slidenum">
              <a:rPr lang="en-US" smtClean="0"/>
              <a:pPr/>
              <a:t>13</a:t>
            </a:fld>
            <a:endParaRPr lang="en-US"/>
          </a:p>
        </p:txBody>
      </p:sp>
      <p:sp>
        <p:nvSpPr>
          <p:cNvPr id="8" name="Content Placeholder 5">
            <a:extLst>
              <a:ext uri="{FF2B5EF4-FFF2-40B4-BE49-F238E27FC236}">
                <a16:creationId xmlns:a16="http://schemas.microsoft.com/office/drawing/2014/main" id="{AC7F9E5F-554F-6CE6-2AC9-7BE575A1C629}"/>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5.24</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Revision of the definition for one existing </a:t>
            </a:r>
            <a:r>
              <a:rPr lang="en-US" i="1"/>
              <a:t>StudentCharacteristic </a:t>
            </a:r>
            <a:r>
              <a:rPr lang="en-US"/>
              <a:t>descriptor, </a:t>
            </a:r>
            <a:r>
              <a:rPr lang="en-US" i="1"/>
              <a:t>20</a:t>
            </a:r>
            <a:r>
              <a:rPr lang="en-US"/>
              <a:t> (Additional Days Program Participation). </a:t>
            </a:r>
          </a:p>
          <a:p>
            <a:pPr lvl="1">
              <a:buClr>
                <a:srgbClr val="F47F42"/>
              </a:buClr>
            </a:pPr>
            <a:r>
              <a:rPr lang="en-US"/>
              <a:t>Data validation rule changes. </a:t>
            </a:r>
          </a:p>
        </p:txBody>
      </p:sp>
      <p:sp>
        <p:nvSpPr>
          <p:cNvPr id="9" name="TextBox 8">
            <a:extLst>
              <a:ext uri="{FF2B5EF4-FFF2-40B4-BE49-F238E27FC236}">
                <a16:creationId xmlns:a16="http://schemas.microsoft.com/office/drawing/2014/main" id="{69A9C267-1B04-152A-6F3F-263C8491912A}"/>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Extended Year Submission</a:t>
            </a:r>
          </a:p>
        </p:txBody>
      </p:sp>
    </p:spTree>
    <p:extLst>
      <p:ext uri="{BB962C8B-B14F-4D97-AF65-F5344CB8AC3E}">
        <p14:creationId xmlns:p14="http://schemas.microsoft.com/office/powerpoint/2010/main" val="265141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858F6-1820-4196-8F3B-0BAA2949552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133443D-4006-1C67-3E71-65E896E06190}"/>
              </a:ext>
            </a:extLst>
          </p:cNvPr>
          <p:cNvSpPr>
            <a:spLocks noGrp="1"/>
          </p:cNvSpPr>
          <p:nvPr>
            <p:ph type="title"/>
          </p:nvPr>
        </p:nvSpPr>
        <p:spPr/>
        <p:txBody>
          <a:bodyPr/>
          <a:lstStyle/>
          <a:p>
            <a:r>
              <a:rPr lang="en-US"/>
              <a:t>HB 2 – Section 5.25</a:t>
            </a:r>
          </a:p>
        </p:txBody>
      </p:sp>
      <p:sp>
        <p:nvSpPr>
          <p:cNvPr id="6" name="Content Placeholder 5">
            <a:extLst>
              <a:ext uri="{FF2B5EF4-FFF2-40B4-BE49-F238E27FC236}">
                <a16:creationId xmlns:a16="http://schemas.microsoft.com/office/drawing/2014/main" id="{9DD3BF99-E29E-DB31-01F1-A133462A4454}"/>
              </a:ext>
            </a:extLst>
          </p:cNvPr>
          <p:cNvSpPr>
            <a:spLocks noGrp="1"/>
          </p:cNvSpPr>
          <p:nvPr>
            <p:ph idx="1"/>
          </p:nvPr>
        </p:nvSpPr>
        <p:spPr>
          <a:xfrm>
            <a:off x="285468" y="1496253"/>
            <a:ext cx="11544581" cy="2198861"/>
          </a:xfrm>
        </p:spPr>
        <p:txBody>
          <a:bodyPr/>
          <a:lstStyle/>
          <a:p>
            <a:r>
              <a:rPr lang="en-US">
                <a:solidFill>
                  <a:srgbClr val="F47F42"/>
                </a:solidFill>
              </a:rPr>
              <a:t>HB 2 Section 5.25 </a:t>
            </a:r>
            <a:r>
              <a:rPr lang="en-US"/>
              <a:t>amends Subchapter A, Chapter 48, Education Code by adding TEC §48.0052, </a:t>
            </a:r>
            <a:r>
              <a:rPr lang="en-US">
                <a:solidFill>
                  <a:srgbClr val="F47F42"/>
                </a:solidFill>
              </a:rPr>
              <a:t>Incentive for Additional Instructional Days for Reading Intervention</a:t>
            </a:r>
            <a:r>
              <a:rPr lang="en-US"/>
              <a:t>. If the LEA does not meet the requirements for ADSY and offers an additional 30 days of half-day instruction consisting of reading intervention, as described in TEC §28.0064 (</a:t>
            </a:r>
            <a:r>
              <a:rPr lang="en-US">
                <a:solidFill>
                  <a:srgbClr val="F47F42"/>
                </a:solidFill>
              </a:rPr>
              <a:t>new section</a:t>
            </a:r>
            <a:r>
              <a:rPr lang="en-US"/>
              <a:t>), the commissioner shall increase the school’s average daily attendance by half of the attendance from the additional 30 days.</a:t>
            </a:r>
          </a:p>
          <a:p>
            <a:pPr marL="0" indent="0">
              <a:buNone/>
            </a:pPr>
            <a:endParaRPr lang="en-US"/>
          </a:p>
        </p:txBody>
      </p:sp>
      <p:sp>
        <p:nvSpPr>
          <p:cNvPr id="8" name="TextBox 7">
            <a:extLst>
              <a:ext uri="{FF2B5EF4-FFF2-40B4-BE49-F238E27FC236}">
                <a16:creationId xmlns:a16="http://schemas.microsoft.com/office/drawing/2014/main" id="{E4F7971E-06CD-1E20-6A8C-2844DEC657A8}"/>
              </a:ext>
            </a:extLst>
          </p:cNvPr>
          <p:cNvSpPr txBox="1"/>
          <p:nvPr/>
        </p:nvSpPr>
        <p:spPr>
          <a:xfrm>
            <a:off x="285468" y="5079784"/>
            <a:ext cx="11452442" cy="1202124"/>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000" b="0" i="0" u="none" strike="noStrike" kern="1200" cap="none" spc="0" normalizeH="0" baseline="0" noProof="0">
                <a:ln>
                  <a:noFill/>
                </a:ln>
                <a:solidFill>
                  <a:srgbClr val="F47F42"/>
                </a:solidFill>
                <a:effectLst/>
                <a:uLnTx/>
                <a:uFillTx/>
                <a:latin typeface="Aptos" panose="020B0004020202020204" pitchFamily="34" charset="0"/>
                <a:ea typeface="+mn-ea"/>
                <a:cs typeface="+mn-cs"/>
              </a:rPr>
              <a:t>TEC §28.0064</a:t>
            </a:r>
            <a:r>
              <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rPr>
              <a:t>: If a student’s results on two consecutively administered reading instruments under TEC §28.0063 indicate the student is at risk, as determined by the agency, of not achieving satisfactory performance in foundational literacy, a school district shall, as soon as practicable following the receipt of the student’s results, provide reading intervention.</a:t>
            </a:r>
            <a:endParaRPr kumimoji="0" lang="en-US" sz="18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FB44DA7-875F-EDAE-438F-0F695A4773F5}"/>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4127228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4DD58-2209-491A-D238-AC6684BDF5C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9757590-D7C7-71A5-65A8-7803DDE84AFE}"/>
              </a:ext>
            </a:extLst>
          </p:cNvPr>
          <p:cNvSpPr>
            <a:spLocks noGrp="1"/>
          </p:cNvSpPr>
          <p:nvPr>
            <p:ph type="title"/>
          </p:nvPr>
        </p:nvSpPr>
        <p:spPr/>
        <p:txBody>
          <a:bodyPr/>
          <a:lstStyle/>
          <a:p>
            <a:r>
              <a:rPr lang="en-US"/>
              <a:t>HB 2 – Section 5.25 – Possible Impact</a:t>
            </a:r>
          </a:p>
        </p:txBody>
      </p:sp>
      <p:sp>
        <p:nvSpPr>
          <p:cNvPr id="4" name="Slide Number Placeholder 3">
            <a:extLst>
              <a:ext uri="{FF2B5EF4-FFF2-40B4-BE49-F238E27FC236}">
                <a16:creationId xmlns:a16="http://schemas.microsoft.com/office/drawing/2014/main" id="{C70A3C22-AC71-DC33-2176-5809C1C62800}"/>
              </a:ext>
            </a:extLst>
          </p:cNvPr>
          <p:cNvSpPr>
            <a:spLocks noGrp="1"/>
          </p:cNvSpPr>
          <p:nvPr>
            <p:ph type="sldNum" sz="quarter" idx="4"/>
          </p:nvPr>
        </p:nvSpPr>
        <p:spPr/>
        <p:txBody>
          <a:bodyPr/>
          <a:lstStyle/>
          <a:p>
            <a:fld id="{69C126A4-BD19-47E2-8A0E-0DE1B9D8C925}" type="slidenum">
              <a:rPr lang="en-US" smtClean="0"/>
              <a:pPr/>
              <a:t>15</a:t>
            </a:fld>
            <a:endParaRPr lang="en-US"/>
          </a:p>
        </p:txBody>
      </p:sp>
      <p:sp>
        <p:nvSpPr>
          <p:cNvPr id="7" name="Content Placeholder 5">
            <a:extLst>
              <a:ext uri="{FF2B5EF4-FFF2-40B4-BE49-F238E27FC236}">
                <a16:creationId xmlns:a16="http://schemas.microsoft.com/office/drawing/2014/main" id="{6DDD5D5C-FAE0-E947-A844-24A161BF4ACD}"/>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5.25</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New descriptor added to </a:t>
            </a:r>
            <a:r>
              <a:rPr lang="en-US" i="1"/>
              <a:t>CalendarType</a:t>
            </a:r>
            <a:r>
              <a:rPr lang="en-US"/>
              <a:t> (C215), </a:t>
            </a:r>
            <a:r>
              <a:rPr lang="en-US" i="1"/>
              <a:t>ReportingPeriod</a:t>
            </a:r>
            <a:r>
              <a:rPr lang="en-US"/>
              <a:t> (C120), and </a:t>
            </a:r>
            <a:r>
              <a:rPr lang="en-US" i="1"/>
              <a:t>StudentCharacteristic</a:t>
            </a:r>
            <a:r>
              <a:rPr lang="en-US"/>
              <a:t> (C344) tables. </a:t>
            </a:r>
          </a:p>
          <a:p>
            <a:pPr lvl="1">
              <a:buClr>
                <a:srgbClr val="F47F42"/>
              </a:buClr>
            </a:pPr>
            <a:r>
              <a:rPr lang="en-US"/>
              <a:t>New data validation rules.</a:t>
            </a:r>
          </a:p>
        </p:txBody>
      </p:sp>
      <p:sp>
        <p:nvSpPr>
          <p:cNvPr id="8" name="TextBox 7">
            <a:extLst>
              <a:ext uri="{FF2B5EF4-FFF2-40B4-BE49-F238E27FC236}">
                <a16:creationId xmlns:a16="http://schemas.microsoft.com/office/drawing/2014/main" id="{4A17FD8A-4503-5682-5C4F-7A398DF0899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Extended Year Submission</a:t>
            </a:r>
          </a:p>
        </p:txBody>
      </p:sp>
    </p:spTree>
    <p:extLst>
      <p:ext uri="{BB962C8B-B14F-4D97-AF65-F5344CB8AC3E}">
        <p14:creationId xmlns:p14="http://schemas.microsoft.com/office/powerpoint/2010/main" val="1532277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F46-0499-83C6-31A8-4BC5AEB226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536C4F0-6E3D-3EF1-7098-84C441BDFF4A}"/>
              </a:ext>
            </a:extLst>
          </p:cNvPr>
          <p:cNvSpPr>
            <a:spLocks noGrp="1"/>
          </p:cNvSpPr>
          <p:nvPr>
            <p:ph type="title"/>
          </p:nvPr>
        </p:nvSpPr>
        <p:spPr/>
        <p:txBody>
          <a:bodyPr/>
          <a:lstStyle/>
          <a:p>
            <a:r>
              <a:rPr lang="en-US"/>
              <a:t>HB 2 – Section 7.13</a:t>
            </a:r>
          </a:p>
        </p:txBody>
      </p:sp>
      <p:sp>
        <p:nvSpPr>
          <p:cNvPr id="6" name="Content Placeholder 5">
            <a:extLst>
              <a:ext uri="{FF2B5EF4-FFF2-40B4-BE49-F238E27FC236}">
                <a16:creationId xmlns:a16="http://schemas.microsoft.com/office/drawing/2014/main" id="{418E36FA-4883-EF41-3552-D262D2A1CD0E}"/>
              </a:ext>
            </a:extLst>
          </p:cNvPr>
          <p:cNvSpPr>
            <a:spLocks noGrp="1"/>
          </p:cNvSpPr>
          <p:nvPr>
            <p:ph idx="1"/>
          </p:nvPr>
        </p:nvSpPr>
        <p:spPr>
          <a:xfrm>
            <a:off x="285468" y="1496253"/>
            <a:ext cx="11544581" cy="1884682"/>
          </a:xfrm>
        </p:spPr>
        <p:txBody>
          <a:bodyPr/>
          <a:lstStyle/>
          <a:p>
            <a:r>
              <a:rPr lang="en-US">
                <a:solidFill>
                  <a:srgbClr val="F47F42"/>
                </a:solidFill>
              </a:rPr>
              <a:t>HB 2 Section 7.13</a:t>
            </a:r>
            <a:r>
              <a:rPr lang="en-US"/>
              <a:t> amends TEC §48.101 by increasing the </a:t>
            </a:r>
            <a:r>
              <a:rPr lang="en-US">
                <a:solidFill>
                  <a:srgbClr val="F47F42"/>
                </a:solidFill>
              </a:rPr>
              <a:t>small and mid-sized allotment</a:t>
            </a:r>
            <a:r>
              <a:rPr lang="en-US"/>
              <a:t> multiplier. Additionally, the section excludes students from the calculated average daily attendance who do not reside in the district and are enrolled in a full-time virtual program.</a:t>
            </a:r>
          </a:p>
        </p:txBody>
      </p:sp>
      <p:sp>
        <p:nvSpPr>
          <p:cNvPr id="4" name="Slide Number Placeholder 3">
            <a:extLst>
              <a:ext uri="{FF2B5EF4-FFF2-40B4-BE49-F238E27FC236}">
                <a16:creationId xmlns:a16="http://schemas.microsoft.com/office/drawing/2014/main" id="{ACDD34FF-040E-1D21-961F-9F5055CF0229}"/>
              </a:ext>
            </a:extLst>
          </p:cNvPr>
          <p:cNvSpPr>
            <a:spLocks noGrp="1"/>
          </p:cNvSpPr>
          <p:nvPr>
            <p:ph type="sldNum" sz="quarter" idx="4"/>
          </p:nvPr>
        </p:nvSpPr>
        <p:spPr/>
        <p:txBody>
          <a:bodyPr/>
          <a:lstStyle/>
          <a:p>
            <a:fld id="{69C126A4-BD19-47E2-8A0E-0DE1B9D8C925}" type="slidenum">
              <a:rPr lang="en-US" smtClean="0"/>
              <a:pPr/>
              <a:t>16</a:t>
            </a:fld>
            <a:endParaRPr lang="en-US"/>
          </a:p>
        </p:txBody>
      </p:sp>
    </p:spTree>
    <p:extLst>
      <p:ext uri="{BB962C8B-B14F-4D97-AF65-F5344CB8AC3E}">
        <p14:creationId xmlns:p14="http://schemas.microsoft.com/office/powerpoint/2010/main" val="2215531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863DC-1AEF-5CE7-1E87-ADB34A2B5AF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FBF01C5-26A8-1AAA-D264-53CA10E656F4}"/>
              </a:ext>
            </a:extLst>
          </p:cNvPr>
          <p:cNvSpPr>
            <a:spLocks noGrp="1"/>
          </p:cNvSpPr>
          <p:nvPr>
            <p:ph type="title"/>
          </p:nvPr>
        </p:nvSpPr>
        <p:spPr/>
        <p:txBody>
          <a:bodyPr/>
          <a:lstStyle/>
          <a:p>
            <a:r>
              <a:rPr lang="en-US"/>
              <a:t>HB 2 – Section 7.13 – Possible Impact</a:t>
            </a:r>
          </a:p>
        </p:txBody>
      </p:sp>
      <p:sp>
        <p:nvSpPr>
          <p:cNvPr id="4" name="Slide Number Placeholder 3">
            <a:extLst>
              <a:ext uri="{FF2B5EF4-FFF2-40B4-BE49-F238E27FC236}">
                <a16:creationId xmlns:a16="http://schemas.microsoft.com/office/drawing/2014/main" id="{BFC50924-62EF-A34D-CC1D-DBE075106EBF}"/>
              </a:ext>
            </a:extLst>
          </p:cNvPr>
          <p:cNvSpPr>
            <a:spLocks noGrp="1"/>
          </p:cNvSpPr>
          <p:nvPr>
            <p:ph type="sldNum" sz="quarter" idx="4"/>
          </p:nvPr>
        </p:nvSpPr>
        <p:spPr/>
        <p:txBody>
          <a:bodyPr/>
          <a:lstStyle/>
          <a:p>
            <a:fld id="{69C126A4-BD19-47E2-8A0E-0DE1B9D8C925}" type="slidenum">
              <a:rPr lang="en-US" smtClean="0"/>
              <a:pPr/>
              <a:t>17</a:t>
            </a:fld>
            <a:endParaRPr lang="en-US"/>
          </a:p>
        </p:txBody>
      </p:sp>
      <p:sp>
        <p:nvSpPr>
          <p:cNvPr id="7" name="Content Placeholder 5">
            <a:extLst>
              <a:ext uri="{FF2B5EF4-FFF2-40B4-BE49-F238E27FC236}">
                <a16:creationId xmlns:a16="http://schemas.microsoft.com/office/drawing/2014/main" id="{5BA04BEF-5D05-53A1-7899-49161A9B9569}"/>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3</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a:t>
            </a:r>
            <a:r>
              <a:rPr lang="en-US" i="1"/>
              <a:t>StudentCharacteristic </a:t>
            </a:r>
            <a:r>
              <a:rPr lang="en-US"/>
              <a:t>(C344) descriptor.</a:t>
            </a:r>
          </a:p>
          <a:p>
            <a:pPr lvl="1">
              <a:buClr>
                <a:srgbClr val="F47F42"/>
              </a:buClr>
            </a:pPr>
            <a:r>
              <a:rPr lang="en-US"/>
              <a:t>Data validation rule updates.</a:t>
            </a:r>
          </a:p>
        </p:txBody>
      </p:sp>
      <p:sp>
        <p:nvSpPr>
          <p:cNvPr id="8" name="TextBox 7">
            <a:extLst>
              <a:ext uri="{FF2B5EF4-FFF2-40B4-BE49-F238E27FC236}">
                <a16:creationId xmlns:a16="http://schemas.microsoft.com/office/drawing/2014/main" id="{EC4BF397-08E9-6A57-55AF-72FB0A4A0BF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a:t>
            </a:r>
          </a:p>
        </p:txBody>
      </p:sp>
    </p:spTree>
    <p:extLst>
      <p:ext uri="{BB962C8B-B14F-4D97-AF65-F5344CB8AC3E}">
        <p14:creationId xmlns:p14="http://schemas.microsoft.com/office/powerpoint/2010/main" val="36508570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262B6-57B0-239C-2387-1FF50F0B416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602150-D5D3-3D8B-6E22-359EE8E7C56E}"/>
              </a:ext>
            </a:extLst>
          </p:cNvPr>
          <p:cNvSpPr>
            <a:spLocks noGrp="1"/>
          </p:cNvSpPr>
          <p:nvPr>
            <p:ph type="title"/>
          </p:nvPr>
        </p:nvSpPr>
        <p:spPr/>
        <p:txBody>
          <a:bodyPr/>
          <a:lstStyle/>
          <a:p>
            <a:r>
              <a:rPr lang="en-US"/>
              <a:t>HB 2 – Section 7.16</a:t>
            </a:r>
          </a:p>
        </p:txBody>
      </p:sp>
      <p:sp>
        <p:nvSpPr>
          <p:cNvPr id="6" name="Content Placeholder 5">
            <a:extLst>
              <a:ext uri="{FF2B5EF4-FFF2-40B4-BE49-F238E27FC236}">
                <a16:creationId xmlns:a16="http://schemas.microsoft.com/office/drawing/2014/main" id="{10498B32-4222-2E36-1CCB-B37915CA066F}"/>
              </a:ext>
            </a:extLst>
          </p:cNvPr>
          <p:cNvSpPr>
            <a:spLocks noGrp="1"/>
          </p:cNvSpPr>
          <p:nvPr>
            <p:ph idx="1"/>
          </p:nvPr>
        </p:nvSpPr>
        <p:spPr>
          <a:xfrm>
            <a:off x="285468" y="1496254"/>
            <a:ext cx="11544581" cy="3572804"/>
          </a:xfrm>
        </p:spPr>
        <p:txBody>
          <a:bodyPr/>
          <a:lstStyle/>
          <a:p>
            <a:r>
              <a:rPr lang="en-US">
                <a:solidFill>
                  <a:srgbClr val="F47F42"/>
                </a:solidFill>
              </a:rPr>
              <a:t>HB 2 Section 7.16 </a:t>
            </a:r>
            <a:r>
              <a:rPr lang="en-US"/>
              <a:t>adds TEC §48.161. </a:t>
            </a:r>
            <a:r>
              <a:rPr lang="en-US">
                <a:solidFill>
                  <a:srgbClr val="F47F42"/>
                </a:solidFill>
              </a:rPr>
              <a:t>Allotment for Basic Costs</a:t>
            </a:r>
            <a:r>
              <a:rPr lang="en-US"/>
              <a:t>. (a) A school district is entitled to an annual allotment of $106 for each student enrolled in the district. (b) Money allocated under this section may be used only to pay costs associated with: (1) transportation, (2) hiring retired teachers, (3) providing health insurance and employee benefits and paying for payroll taxes, (4) contributions and other costs under Subchapter E, Chapter 825, Government Code (Teacher Retirement System), (5) utilities, and (6) property and casualty insurance.</a:t>
            </a:r>
          </a:p>
        </p:txBody>
      </p:sp>
      <p:sp>
        <p:nvSpPr>
          <p:cNvPr id="4" name="Slide Number Placeholder 3">
            <a:extLst>
              <a:ext uri="{FF2B5EF4-FFF2-40B4-BE49-F238E27FC236}">
                <a16:creationId xmlns:a16="http://schemas.microsoft.com/office/drawing/2014/main" id="{9C3D1899-7C0F-1693-9DAE-0AF547876F0B}"/>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3241121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11E28-FBF7-12B2-C4E7-9AF324CDE05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A16CB30-2BF8-AE67-AE84-BE1FC9F25381}"/>
              </a:ext>
            </a:extLst>
          </p:cNvPr>
          <p:cNvSpPr>
            <a:spLocks noGrp="1"/>
          </p:cNvSpPr>
          <p:nvPr>
            <p:ph type="title"/>
          </p:nvPr>
        </p:nvSpPr>
        <p:spPr/>
        <p:txBody>
          <a:bodyPr/>
          <a:lstStyle/>
          <a:p>
            <a:r>
              <a:rPr lang="en-US"/>
              <a:t>HB 2 – Section 7.16 – Possible Impact</a:t>
            </a:r>
          </a:p>
        </p:txBody>
      </p:sp>
      <p:sp>
        <p:nvSpPr>
          <p:cNvPr id="4" name="Slide Number Placeholder 3">
            <a:extLst>
              <a:ext uri="{FF2B5EF4-FFF2-40B4-BE49-F238E27FC236}">
                <a16:creationId xmlns:a16="http://schemas.microsoft.com/office/drawing/2014/main" id="{3D940FC9-BFD1-92E0-8C5E-BF7CB7574D72}"/>
              </a:ext>
            </a:extLst>
          </p:cNvPr>
          <p:cNvSpPr>
            <a:spLocks noGrp="1"/>
          </p:cNvSpPr>
          <p:nvPr>
            <p:ph type="sldNum" sz="quarter" idx="4"/>
          </p:nvPr>
        </p:nvSpPr>
        <p:spPr/>
        <p:txBody>
          <a:bodyPr/>
          <a:lstStyle/>
          <a:p>
            <a:fld id="{69C126A4-BD19-47E2-8A0E-0DE1B9D8C925}" type="slidenum">
              <a:rPr lang="en-US" smtClean="0"/>
              <a:pPr/>
              <a:t>19</a:t>
            </a:fld>
            <a:endParaRPr lang="en-US"/>
          </a:p>
        </p:txBody>
      </p:sp>
      <p:sp>
        <p:nvSpPr>
          <p:cNvPr id="7" name="Content Placeholder 5">
            <a:extLst>
              <a:ext uri="{FF2B5EF4-FFF2-40B4-BE49-F238E27FC236}">
                <a16:creationId xmlns:a16="http://schemas.microsoft.com/office/drawing/2014/main" id="{3437B0B5-8156-9DF1-8FA5-AB2AC5B85891}"/>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6</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TEA may need a method to collect the monies spent by LEAs, which could result in a new descriptor added to an existing descriptor table (Fund, Function, Object, or Program Intent)</a:t>
            </a:r>
          </a:p>
        </p:txBody>
      </p:sp>
      <p:sp>
        <p:nvSpPr>
          <p:cNvPr id="8" name="TextBox 7">
            <a:extLst>
              <a:ext uri="{FF2B5EF4-FFF2-40B4-BE49-F238E27FC236}">
                <a16:creationId xmlns:a16="http://schemas.microsoft.com/office/drawing/2014/main" id="{5B32A6D3-F312-6B18-C165-B492A9B77BE5}"/>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Mid-Year Submission</a:t>
            </a:r>
          </a:p>
        </p:txBody>
      </p:sp>
    </p:spTree>
    <p:extLst>
      <p:ext uri="{BB962C8B-B14F-4D97-AF65-F5344CB8AC3E}">
        <p14:creationId xmlns:p14="http://schemas.microsoft.com/office/powerpoint/2010/main" val="2497658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4C64E-F18C-D50B-9AD7-8CEEB55A7A98}"/>
              </a:ext>
            </a:extLst>
          </p:cNvPr>
          <p:cNvSpPr>
            <a:spLocks noGrp="1"/>
          </p:cNvSpPr>
          <p:nvPr>
            <p:ph type="title"/>
          </p:nvPr>
        </p:nvSpPr>
        <p:spPr/>
        <p:txBody>
          <a:bodyPr/>
          <a:lstStyle/>
          <a:p>
            <a:r>
              <a:rPr lang="en-US"/>
              <a:t>IMPORTANT</a:t>
            </a:r>
          </a:p>
        </p:txBody>
      </p:sp>
      <p:sp>
        <p:nvSpPr>
          <p:cNvPr id="3" name="Content Placeholder 2">
            <a:extLst>
              <a:ext uri="{FF2B5EF4-FFF2-40B4-BE49-F238E27FC236}">
                <a16:creationId xmlns:a16="http://schemas.microsoft.com/office/drawing/2014/main" id="{686FEBA5-3324-183D-04E9-B1613F0A6238}"/>
              </a:ext>
            </a:extLst>
          </p:cNvPr>
          <p:cNvSpPr>
            <a:spLocks noGrp="1"/>
          </p:cNvSpPr>
          <p:nvPr>
            <p:ph idx="1"/>
          </p:nvPr>
        </p:nvSpPr>
        <p:spPr>
          <a:xfrm>
            <a:off x="323709" y="2207554"/>
            <a:ext cx="11544581" cy="3274374"/>
          </a:xfrm>
        </p:spPr>
        <p:txBody>
          <a:bodyPr lIns="91440" tIns="45720" rIns="91440" bIns="45720" anchor="t"/>
          <a:lstStyle/>
          <a:p>
            <a:pPr marL="0" indent="0">
              <a:buNone/>
            </a:pPr>
            <a:r>
              <a:rPr lang="en-US" sz="3200" i="1">
                <a:latin typeface="Aptos"/>
              </a:rPr>
              <a:t>The content presented in these slides is preliminary, pending data governance approval, and </a:t>
            </a:r>
            <a:r>
              <a:rPr lang="en-US" sz="3200" i="1">
                <a:solidFill>
                  <a:srgbClr val="F47F42"/>
                </a:solidFill>
                <a:latin typeface="Aptos"/>
              </a:rPr>
              <a:t>subject to change</a:t>
            </a:r>
            <a:r>
              <a:rPr lang="en-US" sz="3200" i="1">
                <a:latin typeface="Aptos"/>
              </a:rPr>
              <a:t>. Final details for the 2025-2026 school year will be confirmed upon the publication of the Texas Education Data Standards (TEDS) </a:t>
            </a:r>
            <a:r>
              <a:rPr lang="en-US" sz="3200" i="1">
                <a:solidFill>
                  <a:srgbClr val="F47F42"/>
                </a:solidFill>
                <a:latin typeface="Aptos"/>
              </a:rPr>
              <a:t>post-addendum</a:t>
            </a:r>
            <a:r>
              <a:rPr lang="en-US" sz="3200" i="1">
                <a:latin typeface="Aptos"/>
              </a:rPr>
              <a:t> on </a:t>
            </a:r>
            <a:r>
              <a:rPr lang="en-US" sz="3200" i="1">
                <a:solidFill>
                  <a:srgbClr val="F47F42"/>
                </a:solidFill>
                <a:latin typeface="Aptos"/>
              </a:rPr>
              <a:t>September 2, 2025</a:t>
            </a:r>
            <a:r>
              <a:rPr lang="en-US" sz="3200" i="1">
                <a:latin typeface="Aptos"/>
              </a:rPr>
              <a:t>. Changes for the 2026-2027 school year will be published beginning with the 2027.0.0 version of the TEDS.</a:t>
            </a:r>
            <a:endParaRPr lang="en-US" sz="3200">
              <a:latin typeface="Aptos"/>
            </a:endParaRPr>
          </a:p>
        </p:txBody>
      </p:sp>
      <p:sp>
        <p:nvSpPr>
          <p:cNvPr id="4" name="Slide Number Placeholder 3">
            <a:extLst>
              <a:ext uri="{FF2B5EF4-FFF2-40B4-BE49-F238E27FC236}">
                <a16:creationId xmlns:a16="http://schemas.microsoft.com/office/drawing/2014/main" id="{5E65A0A0-7D53-B433-908D-5BDFEED95790}"/>
              </a:ext>
            </a:extLst>
          </p:cNvPr>
          <p:cNvSpPr>
            <a:spLocks noGrp="1"/>
          </p:cNvSpPr>
          <p:nvPr>
            <p:ph type="sldNum" sz="quarter" idx="4"/>
          </p:nvPr>
        </p:nvSpPr>
        <p:spPr/>
        <p:txBody>
          <a:bodyPr/>
          <a:lstStyle/>
          <a:p>
            <a:fld id="{69C126A4-BD19-47E2-8A0E-0DE1B9D8C925}" type="slidenum">
              <a:rPr lang="en-US" smtClean="0"/>
              <a:pPr/>
              <a:t>2</a:t>
            </a:fld>
            <a:endParaRPr lang="en-US"/>
          </a:p>
        </p:txBody>
      </p:sp>
    </p:spTree>
    <p:extLst>
      <p:ext uri="{BB962C8B-B14F-4D97-AF65-F5344CB8AC3E}">
        <p14:creationId xmlns:p14="http://schemas.microsoft.com/office/powerpoint/2010/main" val="4054429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1BF2-506E-3C33-3D56-BC47D8AFE55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64AE5C4-90A4-083E-A152-2CD24EEDCE5C}"/>
              </a:ext>
            </a:extLst>
          </p:cNvPr>
          <p:cNvSpPr>
            <a:spLocks noGrp="1"/>
          </p:cNvSpPr>
          <p:nvPr>
            <p:ph type="title"/>
          </p:nvPr>
        </p:nvSpPr>
        <p:spPr/>
        <p:txBody>
          <a:bodyPr/>
          <a:lstStyle/>
          <a:p>
            <a:r>
              <a:rPr lang="en-US"/>
              <a:t>HB 2 – Section 7.19</a:t>
            </a:r>
          </a:p>
        </p:txBody>
      </p:sp>
      <p:sp>
        <p:nvSpPr>
          <p:cNvPr id="6" name="Content Placeholder 5">
            <a:extLst>
              <a:ext uri="{FF2B5EF4-FFF2-40B4-BE49-F238E27FC236}">
                <a16:creationId xmlns:a16="http://schemas.microsoft.com/office/drawing/2014/main" id="{B60A1CAD-B2DE-D888-4780-C501CA309775}"/>
              </a:ext>
            </a:extLst>
          </p:cNvPr>
          <p:cNvSpPr>
            <a:spLocks noGrp="1"/>
          </p:cNvSpPr>
          <p:nvPr>
            <p:ph idx="1"/>
          </p:nvPr>
        </p:nvSpPr>
        <p:spPr>
          <a:xfrm>
            <a:off x="285468" y="1496253"/>
            <a:ext cx="11544581" cy="3319587"/>
          </a:xfrm>
        </p:spPr>
        <p:txBody>
          <a:bodyPr/>
          <a:lstStyle/>
          <a:p>
            <a:r>
              <a:rPr lang="en-US">
                <a:solidFill>
                  <a:srgbClr val="F47F42"/>
                </a:solidFill>
              </a:rPr>
              <a:t>HB 2 Section 7.19 </a:t>
            </a:r>
            <a:r>
              <a:rPr lang="en-US"/>
              <a:t>amends TEC §48.266 by adding Subsection (b-1). Periodically throughout the school year, the commissioner shall adjust the determinations made under Subsection (a) to reflect </a:t>
            </a:r>
            <a:r>
              <a:rPr lang="en-US">
                <a:solidFill>
                  <a:srgbClr val="F47F42"/>
                </a:solidFill>
              </a:rPr>
              <a:t>current school </a:t>
            </a:r>
            <a:r>
              <a:rPr lang="en-US"/>
              <a:t>year estimates of the district’s </a:t>
            </a:r>
            <a:r>
              <a:rPr lang="en-US">
                <a:solidFill>
                  <a:srgbClr val="F47F42"/>
                </a:solidFill>
              </a:rPr>
              <a:t>enrollment</a:t>
            </a:r>
            <a:r>
              <a:rPr lang="en-US"/>
              <a:t> and </a:t>
            </a:r>
            <a:r>
              <a:rPr lang="en-US">
                <a:solidFill>
                  <a:srgbClr val="F47F42"/>
                </a:solidFill>
              </a:rPr>
              <a:t>average daily attendance </a:t>
            </a:r>
            <a:r>
              <a:rPr lang="en-US"/>
              <a:t>reporting for </a:t>
            </a:r>
            <a:r>
              <a:rPr lang="en-US">
                <a:solidFill>
                  <a:srgbClr val="F47F42"/>
                </a:solidFill>
              </a:rPr>
              <a:t>each six-week </a:t>
            </a:r>
            <a:r>
              <a:rPr lang="en-US"/>
              <a:t>interval.</a:t>
            </a:r>
          </a:p>
        </p:txBody>
      </p:sp>
      <p:sp>
        <p:nvSpPr>
          <p:cNvPr id="4" name="Slide Number Placeholder 3">
            <a:extLst>
              <a:ext uri="{FF2B5EF4-FFF2-40B4-BE49-F238E27FC236}">
                <a16:creationId xmlns:a16="http://schemas.microsoft.com/office/drawing/2014/main" id="{438726AE-8AA0-FED9-DCF2-F21974E2E516}"/>
              </a:ext>
            </a:extLst>
          </p:cNvPr>
          <p:cNvSpPr>
            <a:spLocks noGrp="1"/>
          </p:cNvSpPr>
          <p:nvPr>
            <p:ph type="sldNum" sz="quarter" idx="4"/>
          </p:nvPr>
        </p:nvSpPr>
        <p:spPr/>
        <p:txBody>
          <a:bodyPr/>
          <a:lstStyle/>
          <a:p>
            <a:fld id="{69C126A4-BD19-47E2-8A0E-0DE1B9D8C925}" type="slidenum">
              <a:rPr lang="en-US" smtClean="0"/>
              <a:pPr/>
              <a:t>20</a:t>
            </a:fld>
            <a:endParaRPr lang="en-US"/>
          </a:p>
        </p:txBody>
      </p:sp>
    </p:spTree>
    <p:extLst>
      <p:ext uri="{BB962C8B-B14F-4D97-AF65-F5344CB8AC3E}">
        <p14:creationId xmlns:p14="http://schemas.microsoft.com/office/powerpoint/2010/main" val="235025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6CBB-09AC-79F3-E4E4-98A6A7B63B4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28499FD-A4B7-6C0D-AA1D-550500A9B298}"/>
              </a:ext>
            </a:extLst>
          </p:cNvPr>
          <p:cNvSpPr>
            <a:spLocks noGrp="1"/>
          </p:cNvSpPr>
          <p:nvPr>
            <p:ph type="title"/>
          </p:nvPr>
        </p:nvSpPr>
        <p:spPr/>
        <p:txBody>
          <a:bodyPr/>
          <a:lstStyle/>
          <a:p>
            <a:r>
              <a:rPr lang="en-US"/>
              <a:t>HB 2 – Section 7.19 – Possible Impact</a:t>
            </a:r>
          </a:p>
        </p:txBody>
      </p:sp>
      <p:sp>
        <p:nvSpPr>
          <p:cNvPr id="4" name="Slide Number Placeholder 3">
            <a:extLst>
              <a:ext uri="{FF2B5EF4-FFF2-40B4-BE49-F238E27FC236}">
                <a16:creationId xmlns:a16="http://schemas.microsoft.com/office/drawing/2014/main" id="{C583E82D-DA97-DBB1-6BEF-FE17CF4114A7}"/>
              </a:ext>
            </a:extLst>
          </p:cNvPr>
          <p:cNvSpPr>
            <a:spLocks noGrp="1"/>
          </p:cNvSpPr>
          <p:nvPr>
            <p:ph type="sldNum" sz="quarter" idx="4"/>
          </p:nvPr>
        </p:nvSpPr>
        <p:spPr/>
        <p:txBody>
          <a:bodyPr/>
          <a:lstStyle/>
          <a:p>
            <a:fld id="{69C126A4-BD19-47E2-8A0E-0DE1B9D8C925}" type="slidenum">
              <a:rPr lang="en-US" smtClean="0"/>
              <a:pPr/>
              <a:t>21</a:t>
            </a:fld>
            <a:endParaRPr lang="en-US"/>
          </a:p>
        </p:txBody>
      </p:sp>
      <p:sp>
        <p:nvSpPr>
          <p:cNvPr id="7" name="Content Placeholder 5">
            <a:extLst>
              <a:ext uri="{FF2B5EF4-FFF2-40B4-BE49-F238E27FC236}">
                <a16:creationId xmlns:a16="http://schemas.microsoft.com/office/drawing/2014/main" id="{2958D567-E385-D86B-8FFD-8653DC09F04F}"/>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7.19</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Attendance will be collected five additional times during the school year, once for each of the first five six-week reporting periods. In addition, during the PEIMS Summer Submission, TEA will collect attendance data for the entire school year, which includes: (1) a recollection of the first five six-week periods to allow LEAs to review and correct any previously submitted data, and (2) the initial collection of attendance for the sixth six-week period.</a:t>
            </a:r>
          </a:p>
        </p:txBody>
      </p:sp>
      <p:sp>
        <p:nvSpPr>
          <p:cNvPr id="8" name="TextBox 7">
            <a:extLst>
              <a:ext uri="{FF2B5EF4-FFF2-40B4-BE49-F238E27FC236}">
                <a16:creationId xmlns:a16="http://schemas.microsoft.com/office/drawing/2014/main" id="{2F926383-5526-1355-1383-3FD0B6D2E460}"/>
              </a:ext>
            </a:extLst>
          </p:cNvPr>
          <p:cNvSpPr txBox="1"/>
          <p:nvPr/>
        </p:nvSpPr>
        <p:spPr>
          <a:xfrm>
            <a:off x="285468" y="5836628"/>
            <a:ext cx="7925471"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New Six Weeks and Summer Submissions</a:t>
            </a:r>
          </a:p>
        </p:txBody>
      </p:sp>
    </p:spTree>
    <p:extLst>
      <p:ext uri="{BB962C8B-B14F-4D97-AF65-F5344CB8AC3E}">
        <p14:creationId xmlns:p14="http://schemas.microsoft.com/office/powerpoint/2010/main" val="4031189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EF8CD-9804-67A4-B2AB-78DA3193537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6AC946-40C2-5627-6E17-A437FA7204EF}"/>
              </a:ext>
            </a:extLst>
          </p:cNvPr>
          <p:cNvSpPr>
            <a:spLocks noGrp="1"/>
          </p:cNvSpPr>
          <p:nvPr>
            <p:ph type="title"/>
          </p:nvPr>
        </p:nvSpPr>
        <p:spPr/>
        <p:txBody>
          <a:bodyPr/>
          <a:lstStyle/>
          <a:p>
            <a:r>
              <a:rPr lang="en-US"/>
              <a:t>HB 2 – Section 6.05/HB 120 – Section 5</a:t>
            </a:r>
          </a:p>
        </p:txBody>
      </p:sp>
      <p:sp>
        <p:nvSpPr>
          <p:cNvPr id="6" name="Content Placeholder 5">
            <a:extLst>
              <a:ext uri="{FF2B5EF4-FFF2-40B4-BE49-F238E27FC236}">
                <a16:creationId xmlns:a16="http://schemas.microsoft.com/office/drawing/2014/main" id="{93838C7C-A589-54B8-14A4-8CB6995AF477}"/>
              </a:ext>
            </a:extLst>
          </p:cNvPr>
          <p:cNvSpPr>
            <a:spLocks noGrp="1"/>
          </p:cNvSpPr>
          <p:nvPr>
            <p:ph idx="1"/>
          </p:nvPr>
        </p:nvSpPr>
        <p:spPr>
          <a:xfrm>
            <a:off x="285468" y="1496253"/>
            <a:ext cx="11544581" cy="3493089"/>
          </a:xfrm>
        </p:spPr>
        <p:txBody>
          <a:bodyPr/>
          <a:lstStyle/>
          <a:p>
            <a:pPr fontAlgn="base"/>
            <a:r>
              <a:rPr lang="en-US">
                <a:solidFill>
                  <a:srgbClr val="F47F42"/>
                </a:solidFill>
              </a:rPr>
              <a:t>HB 2 Section 6.05/HB 120 Section 5 </a:t>
            </a:r>
            <a:r>
              <a:rPr lang="en-US"/>
              <a:t>amends TEC §29.182(b) by adding the following: (5) a course of study offered under a </a:t>
            </a:r>
            <a:r>
              <a:rPr lang="en-US">
                <a:solidFill>
                  <a:srgbClr val="F47F42"/>
                </a:solidFill>
              </a:rPr>
              <a:t>Junior Reserve Officers’ Training Corp </a:t>
            </a:r>
            <a:r>
              <a:rPr lang="en-US"/>
              <a:t>(JROTC) program established under 10 U.S.C. Section 2031 is considered a </a:t>
            </a:r>
            <a:r>
              <a:rPr lang="en-US">
                <a:solidFill>
                  <a:srgbClr val="F47F42"/>
                </a:solidFill>
              </a:rPr>
              <a:t>career and technology education </a:t>
            </a:r>
            <a:r>
              <a:rPr lang="en-US"/>
              <a:t>(CTE) program. </a:t>
            </a:r>
          </a:p>
        </p:txBody>
      </p:sp>
      <p:sp>
        <p:nvSpPr>
          <p:cNvPr id="4" name="Slide Number Placeholder 3">
            <a:extLst>
              <a:ext uri="{FF2B5EF4-FFF2-40B4-BE49-F238E27FC236}">
                <a16:creationId xmlns:a16="http://schemas.microsoft.com/office/drawing/2014/main" id="{DB4A5D53-7FD7-65A4-3ABC-F97F19E4825C}"/>
              </a:ext>
            </a:extLst>
          </p:cNvPr>
          <p:cNvSpPr>
            <a:spLocks noGrp="1"/>
          </p:cNvSpPr>
          <p:nvPr>
            <p:ph type="sldNum" sz="quarter" idx="4"/>
          </p:nvPr>
        </p:nvSpPr>
        <p:spPr/>
        <p:txBody>
          <a:bodyPr/>
          <a:lstStyle/>
          <a:p>
            <a:fld id="{69C126A4-BD19-47E2-8A0E-0DE1B9D8C925}" type="slidenum">
              <a:rPr lang="en-US" smtClean="0"/>
              <a:pPr/>
              <a:t>22</a:t>
            </a:fld>
            <a:endParaRPr lang="en-US"/>
          </a:p>
        </p:txBody>
      </p:sp>
    </p:spTree>
    <p:extLst>
      <p:ext uri="{BB962C8B-B14F-4D97-AF65-F5344CB8AC3E}">
        <p14:creationId xmlns:p14="http://schemas.microsoft.com/office/powerpoint/2010/main" val="21027852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1C18B-420F-F77F-960B-FA5421D3C80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8622B2A-B35F-2C89-41E5-CD71FCCC0CFE}"/>
              </a:ext>
            </a:extLst>
          </p:cNvPr>
          <p:cNvSpPr>
            <a:spLocks noGrp="1"/>
          </p:cNvSpPr>
          <p:nvPr>
            <p:ph type="title"/>
          </p:nvPr>
        </p:nvSpPr>
        <p:spPr/>
        <p:txBody>
          <a:bodyPr>
            <a:normAutofit fontScale="90000"/>
          </a:bodyPr>
          <a:lstStyle/>
          <a:p>
            <a:r>
              <a:rPr lang="en-US"/>
              <a:t>HB 2 – Section 6.05/HB 120 – Section 5 – Possible Impact</a:t>
            </a:r>
          </a:p>
        </p:txBody>
      </p:sp>
      <p:sp>
        <p:nvSpPr>
          <p:cNvPr id="4" name="Slide Number Placeholder 3">
            <a:extLst>
              <a:ext uri="{FF2B5EF4-FFF2-40B4-BE49-F238E27FC236}">
                <a16:creationId xmlns:a16="http://schemas.microsoft.com/office/drawing/2014/main" id="{DE440486-D67D-6C89-6891-3F85C20C61B8}"/>
              </a:ext>
            </a:extLst>
          </p:cNvPr>
          <p:cNvSpPr>
            <a:spLocks noGrp="1"/>
          </p:cNvSpPr>
          <p:nvPr>
            <p:ph type="sldNum" sz="quarter" idx="4"/>
          </p:nvPr>
        </p:nvSpPr>
        <p:spPr/>
        <p:txBody>
          <a:bodyPr/>
          <a:lstStyle/>
          <a:p>
            <a:fld id="{69C126A4-BD19-47E2-8A0E-0DE1B9D8C925}" type="slidenum">
              <a:rPr lang="en-US" smtClean="0"/>
              <a:pPr/>
              <a:t>23</a:t>
            </a:fld>
            <a:endParaRPr lang="en-US"/>
          </a:p>
        </p:txBody>
      </p:sp>
      <p:sp>
        <p:nvSpPr>
          <p:cNvPr id="7" name="Content Placeholder 5">
            <a:extLst>
              <a:ext uri="{FF2B5EF4-FFF2-40B4-BE49-F238E27FC236}">
                <a16:creationId xmlns:a16="http://schemas.microsoft.com/office/drawing/2014/main" id="{1902071B-2B55-A5FF-BC66-9AF383259740}"/>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 6.05/HB 120 Section 5</a:t>
            </a:r>
            <a:endParaRPr lang="en-US"/>
          </a:p>
          <a:p>
            <a:pPr marL="457200" lvl="1" indent="0" fontAlgn="base">
              <a:buNone/>
            </a:pPr>
            <a:r>
              <a:rPr lang="en-US">
                <a:solidFill>
                  <a:srgbClr val="F47F42"/>
                </a:solidFill>
              </a:rPr>
              <a:t>Texas Student Data System (TSDS): </a:t>
            </a:r>
          </a:p>
          <a:p>
            <a:pPr lvl="1" fontAlgn="base"/>
            <a:r>
              <a:rPr lang="en-US"/>
              <a:t>New descriptors in the </a:t>
            </a:r>
            <a:r>
              <a:rPr lang="en-US" i="1" err="1"/>
              <a:t>CTEServiceId</a:t>
            </a:r>
            <a:r>
              <a:rPr lang="en-US"/>
              <a:t> (C330) and course code tables for the new CTE JROTC courses. </a:t>
            </a:r>
          </a:p>
          <a:p>
            <a:pPr lvl="1" fontAlgn="base"/>
            <a:r>
              <a:rPr lang="en-US"/>
              <a:t>Data validation rules will be revised. </a:t>
            </a:r>
          </a:p>
          <a:p>
            <a:pPr lvl="1" fontAlgn="base"/>
            <a:r>
              <a:rPr lang="en-US"/>
              <a:t>The CTE Indicator Auto Calculation process will need to be updated to include students who complete a JROTC course. </a:t>
            </a:r>
          </a:p>
          <a:p>
            <a:pPr lvl="1">
              <a:buClr>
                <a:srgbClr val="F47F42"/>
              </a:buClr>
            </a:pPr>
            <a:endParaRPr lang="en-US"/>
          </a:p>
        </p:txBody>
      </p:sp>
      <p:sp>
        <p:nvSpPr>
          <p:cNvPr id="8" name="TextBox 7">
            <a:extLst>
              <a:ext uri="{FF2B5EF4-FFF2-40B4-BE49-F238E27FC236}">
                <a16:creationId xmlns:a16="http://schemas.microsoft.com/office/drawing/2014/main" id="{0A63A6A3-7A90-1302-5A4A-4105C60EE05D}"/>
              </a:ext>
            </a:extLst>
          </p:cNvPr>
          <p:cNvSpPr txBox="1"/>
          <p:nvPr/>
        </p:nvSpPr>
        <p:spPr>
          <a:xfrm>
            <a:off x="285468" y="5836628"/>
            <a:ext cx="6720243"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and Extended Year Submissions</a:t>
            </a:r>
          </a:p>
        </p:txBody>
      </p:sp>
    </p:spTree>
    <p:extLst>
      <p:ext uri="{BB962C8B-B14F-4D97-AF65-F5344CB8AC3E}">
        <p14:creationId xmlns:p14="http://schemas.microsoft.com/office/powerpoint/2010/main" val="1581999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ADB67-C13F-597A-316D-35709D66845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02EC910-55ED-45CD-484D-9B47F6D3D48D}"/>
              </a:ext>
            </a:extLst>
          </p:cNvPr>
          <p:cNvSpPr>
            <a:spLocks noGrp="1"/>
          </p:cNvSpPr>
          <p:nvPr>
            <p:ph type="title"/>
          </p:nvPr>
        </p:nvSpPr>
        <p:spPr/>
        <p:txBody>
          <a:bodyPr/>
          <a:lstStyle/>
          <a:p>
            <a:r>
              <a:rPr lang="en-US"/>
              <a:t>HB 2 – Section 6.21/HB 120 – Section 21</a:t>
            </a:r>
          </a:p>
        </p:txBody>
      </p:sp>
      <p:sp>
        <p:nvSpPr>
          <p:cNvPr id="6" name="Content Placeholder 5">
            <a:extLst>
              <a:ext uri="{FF2B5EF4-FFF2-40B4-BE49-F238E27FC236}">
                <a16:creationId xmlns:a16="http://schemas.microsoft.com/office/drawing/2014/main" id="{8DEDFEBE-11AB-7E71-1414-A16227516AE9}"/>
              </a:ext>
            </a:extLst>
          </p:cNvPr>
          <p:cNvSpPr>
            <a:spLocks noGrp="1"/>
          </p:cNvSpPr>
          <p:nvPr>
            <p:ph idx="1"/>
          </p:nvPr>
        </p:nvSpPr>
        <p:spPr/>
        <p:txBody>
          <a:bodyPr/>
          <a:lstStyle/>
          <a:p>
            <a:r>
              <a:rPr lang="en-US">
                <a:solidFill>
                  <a:srgbClr val="F47F42"/>
                </a:solidFill>
              </a:rPr>
              <a:t>HB 2 Section 6.21/HB 120 Section 21</a:t>
            </a:r>
            <a:r>
              <a:rPr lang="en-US"/>
              <a:t> amends TEC §48.156 by allowing an LEA to receive </a:t>
            </a:r>
            <a:r>
              <a:rPr lang="en-US">
                <a:solidFill>
                  <a:srgbClr val="F47F42"/>
                </a:solidFill>
              </a:rPr>
              <a:t>reimbursement</a:t>
            </a:r>
            <a:r>
              <a:rPr lang="en-US"/>
              <a:t> for not more than </a:t>
            </a:r>
            <a:r>
              <a:rPr lang="en-US">
                <a:solidFill>
                  <a:srgbClr val="F47F42"/>
                </a:solidFill>
              </a:rPr>
              <a:t>two certification examinations</a:t>
            </a:r>
            <a:r>
              <a:rPr lang="en-US"/>
              <a:t> per student under TEC §29.190(a), including costs paid for </a:t>
            </a:r>
            <a:r>
              <a:rPr lang="en-US">
                <a:solidFill>
                  <a:srgbClr val="F47F42"/>
                </a:solidFill>
              </a:rPr>
              <a:t>associated fingerprinting </a:t>
            </a:r>
            <a:r>
              <a:rPr lang="en-US"/>
              <a:t>or </a:t>
            </a:r>
            <a:r>
              <a:rPr lang="en-US">
                <a:solidFill>
                  <a:srgbClr val="F47F42"/>
                </a:solidFill>
              </a:rPr>
              <a:t>criminal history record </a:t>
            </a:r>
            <a:r>
              <a:rPr lang="en-US"/>
              <a:t>information review, as provided by TEC §29.190(c).</a:t>
            </a:r>
          </a:p>
        </p:txBody>
      </p:sp>
      <p:sp>
        <p:nvSpPr>
          <p:cNvPr id="4" name="Slide Number Placeholder 3">
            <a:extLst>
              <a:ext uri="{FF2B5EF4-FFF2-40B4-BE49-F238E27FC236}">
                <a16:creationId xmlns:a16="http://schemas.microsoft.com/office/drawing/2014/main" id="{AF162298-F00D-8A2D-4548-5F5A03041398}"/>
              </a:ext>
            </a:extLst>
          </p:cNvPr>
          <p:cNvSpPr>
            <a:spLocks noGrp="1"/>
          </p:cNvSpPr>
          <p:nvPr>
            <p:ph type="sldNum" sz="quarter" idx="4"/>
          </p:nvPr>
        </p:nvSpPr>
        <p:spPr/>
        <p:txBody>
          <a:bodyPr/>
          <a:lstStyle/>
          <a:p>
            <a:fld id="{69C126A4-BD19-47E2-8A0E-0DE1B9D8C925}" type="slidenum">
              <a:rPr lang="en-US" smtClean="0"/>
              <a:pPr/>
              <a:t>24</a:t>
            </a:fld>
            <a:endParaRPr lang="en-US"/>
          </a:p>
        </p:txBody>
      </p:sp>
    </p:spTree>
    <p:extLst>
      <p:ext uri="{BB962C8B-B14F-4D97-AF65-F5344CB8AC3E}">
        <p14:creationId xmlns:p14="http://schemas.microsoft.com/office/powerpoint/2010/main" val="1424249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C592F-577E-D1B6-EFBF-8E8D39FCF50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A2F418C-0E57-1563-E81C-F222894C38B9}"/>
              </a:ext>
            </a:extLst>
          </p:cNvPr>
          <p:cNvSpPr>
            <a:spLocks noGrp="1"/>
          </p:cNvSpPr>
          <p:nvPr>
            <p:ph type="title"/>
          </p:nvPr>
        </p:nvSpPr>
        <p:spPr/>
        <p:txBody>
          <a:bodyPr>
            <a:normAutofit fontScale="90000"/>
          </a:bodyPr>
          <a:lstStyle/>
          <a:p>
            <a:r>
              <a:rPr lang="en-US"/>
              <a:t>HB 2 – Section 6.21/HB 120 – Section 21 – Possible Impact</a:t>
            </a:r>
          </a:p>
        </p:txBody>
      </p:sp>
      <p:sp>
        <p:nvSpPr>
          <p:cNvPr id="4" name="Slide Number Placeholder 3">
            <a:extLst>
              <a:ext uri="{FF2B5EF4-FFF2-40B4-BE49-F238E27FC236}">
                <a16:creationId xmlns:a16="http://schemas.microsoft.com/office/drawing/2014/main" id="{3580A28F-9782-B168-5E3E-A4B1BB79CC9A}"/>
              </a:ext>
            </a:extLst>
          </p:cNvPr>
          <p:cNvSpPr>
            <a:spLocks noGrp="1"/>
          </p:cNvSpPr>
          <p:nvPr>
            <p:ph type="sldNum" sz="quarter" idx="4"/>
          </p:nvPr>
        </p:nvSpPr>
        <p:spPr/>
        <p:txBody>
          <a:bodyPr/>
          <a:lstStyle/>
          <a:p>
            <a:fld id="{69C126A4-BD19-47E2-8A0E-0DE1B9D8C925}" type="slidenum">
              <a:rPr lang="en-US" smtClean="0"/>
              <a:pPr/>
              <a:t>25</a:t>
            </a:fld>
            <a:endParaRPr lang="en-US"/>
          </a:p>
        </p:txBody>
      </p:sp>
      <p:sp>
        <p:nvSpPr>
          <p:cNvPr id="7" name="Content Placeholder 5">
            <a:extLst>
              <a:ext uri="{FF2B5EF4-FFF2-40B4-BE49-F238E27FC236}">
                <a16:creationId xmlns:a16="http://schemas.microsoft.com/office/drawing/2014/main" id="{E82744F0-DCEB-6DB2-2F2B-6A20276FC5BB}"/>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6.21/HB 120 Section 21</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data element to collect the cost of fingerprinting and criminal history. </a:t>
            </a:r>
          </a:p>
          <a:p>
            <a:pPr lvl="1">
              <a:buClr>
                <a:srgbClr val="F47F42"/>
              </a:buClr>
            </a:pPr>
            <a:r>
              <a:rPr lang="en-US"/>
              <a:t>Revise data element reporting requirements for the StudentAcademicRecord Entity.</a:t>
            </a:r>
            <a:r>
              <a:rPr lang="en-US" sz="2400">
                <a:effectLst/>
                <a:latin typeface="Aptos" panose="020B0004020202020204" pitchFamily="34" charset="0"/>
                <a:ea typeface="Calibri" panose="020F0502020204030204" pitchFamily="34" charset="0"/>
                <a:cs typeface="Segoe UI" panose="020B0502040204020203" pitchFamily="34" charset="0"/>
              </a:rPr>
              <a:t> </a:t>
            </a:r>
          </a:p>
          <a:p>
            <a:pPr lvl="1">
              <a:buClr>
                <a:srgbClr val="F47F42"/>
              </a:buClr>
            </a:pPr>
            <a:r>
              <a:rPr lang="en-US" sz="2400">
                <a:effectLst/>
                <a:latin typeface="Aptos" panose="020B0004020202020204" pitchFamily="34" charset="0"/>
                <a:ea typeface="Calibri" panose="020F0502020204030204" pitchFamily="34" charset="0"/>
                <a:cs typeface="Segoe UI" panose="020B0502040204020203" pitchFamily="34" charset="0"/>
              </a:rPr>
              <a:t>Data validation rule changes.</a:t>
            </a:r>
            <a:endParaRPr lang="en-US"/>
          </a:p>
        </p:txBody>
      </p:sp>
      <p:sp>
        <p:nvSpPr>
          <p:cNvPr id="8" name="TextBox 7">
            <a:extLst>
              <a:ext uri="{FF2B5EF4-FFF2-40B4-BE49-F238E27FC236}">
                <a16:creationId xmlns:a16="http://schemas.microsoft.com/office/drawing/2014/main" id="{AEF6106E-EA53-3800-0E81-6246C578D6E7}"/>
              </a:ext>
            </a:extLst>
          </p:cNvPr>
          <p:cNvSpPr txBox="1"/>
          <p:nvPr/>
        </p:nvSpPr>
        <p:spPr>
          <a:xfrm>
            <a:off x="285468" y="5836628"/>
            <a:ext cx="10420046"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and Extended Year Submissions</a:t>
            </a:r>
          </a:p>
        </p:txBody>
      </p:sp>
    </p:spTree>
    <p:extLst>
      <p:ext uri="{BB962C8B-B14F-4D97-AF65-F5344CB8AC3E}">
        <p14:creationId xmlns:p14="http://schemas.microsoft.com/office/powerpoint/2010/main" val="3717530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3A84E-5848-B55F-5191-A87CF8E3EDE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D16EA15-A989-12B9-9FCC-698FBACF3679}"/>
              </a:ext>
            </a:extLst>
          </p:cNvPr>
          <p:cNvSpPr>
            <a:spLocks noGrp="1"/>
          </p:cNvSpPr>
          <p:nvPr>
            <p:ph type="title"/>
          </p:nvPr>
        </p:nvSpPr>
        <p:spPr>
          <a:xfrm>
            <a:off x="136613" y="160894"/>
            <a:ext cx="10596954" cy="751350"/>
          </a:xfrm>
        </p:spPr>
        <p:txBody>
          <a:bodyPr>
            <a:normAutofit/>
          </a:bodyPr>
          <a:lstStyle/>
          <a:p>
            <a:r>
              <a:rPr lang="en-US"/>
              <a:t>HB 2 - Sections 7.04 &amp; 7.14/SB 2185 – Sections 1 &amp; 2</a:t>
            </a:r>
          </a:p>
        </p:txBody>
      </p:sp>
      <p:sp>
        <p:nvSpPr>
          <p:cNvPr id="6" name="Content Placeholder 5">
            <a:extLst>
              <a:ext uri="{FF2B5EF4-FFF2-40B4-BE49-F238E27FC236}">
                <a16:creationId xmlns:a16="http://schemas.microsoft.com/office/drawing/2014/main" id="{9798629F-F241-88B5-8FFC-974E3BCA5E20}"/>
              </a:ext>
            </a:extLst>
          </p:cNvPr>
          <p:cNvSpPr>
            <a:spLocks noGrp="1"/>
          </p:cNvSpPr>
          <p:nvPr>
            <p:ph idx="1"/>
          </p:nvPr>
        </p:nvSpPr>
        <p:spPr/>
        <p:txBody>
          <a:bodyPr/>
          <a:lstStyle/>
          <a:p>
            <a:r>
              <a:rPr lang="en-US">
                <a:solidFill>
                  <a:srgbClr val="F47F42"/>
                </a:solidFill>
              </a:rPr>
              <a:t>HB 2 Sections 7.04 &amp; 7.14/SB 2185 Sections 1 &amp; 2</a:t>
            </a:r>
            <a:r>
              <a:rPr lang="en-US"/>
              <a:t> amends TEC §29.054 by adding Subsection (e). The newly added Subsection (e) requires TEA to collect additional information from LEAs that have been granted an exception when standard bilingual education programs are not in place.  Subsections (a-1) and (a-2) are also added to TEC §48.105. TEA may require these LEAs to report information through PEIMS about the bilingual education alternatives they are using. </a:t>
            </a:r>
          </a:p>
        </p:txBody>
      </p:sp>
      <p:sp>
        <p:nvSpPr>
          <p:cNvPr id="4" name="Slide Number Placeholder 3">
            <a:extLst>
              <a:ext uri="{FF2B5EF4-FFF2-40B4-BE49-F238E27FC236}">
                <a16:creationId xmlns:a16="http://schemas.microsoft.com/office/drawing/2014/main" id="{32251A31-00F7-032A-E4FE-D4C20A009A21}"/>
              </a:ext>
            </a:extLst>
          </p:cNvPr>
          <p:cNvSpPr>
            <a:spLocks noGrp="1"/>
          </p:cNvSpPr>
          <p:nvPr>
            <p:ph type="sldNum" sz="quarter" idx="4"/>
          </p:nvPr>
        </p:nvSpPr>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2446134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C6D2D-58A1-460A-2072-D8FC234F36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2CE2511-DE11-6CBF-E660-D5A373791E42}"/>
              </a:ext>
            </a:extLst>
          </p:cNvPr>
          <p:cNvSpPr>
            <a:spLocks noGrp="1"/>
          </p:cNvSpPr>
          <p:nvPr>
            <p:ph type="title"/>
          </p:nvPr>
        </p:nvSpPr>
        <p:spPr>
          <a:xfrm>
            <a:off x="136613" y="160894"/>
            <a:ext cx="10596954" cy="751350"/>
          </a:xfrm>
        </p:spPr>
        <p:txBody>
          <a:bodyPr>
            <a:normAutofit fontScale="90000"/>
          </a:bodyPr>
          <a:lstStyle/>
          <a:p>
            <a:r>
              <a:rPr lang="en-US"/>
              <a:t>HB 2 - Sections 7.04 &amp; 7.14/SB 2185 – Sections 1 &amp; 2 – Possible Impact</a:t>
            </a:r>
          </a:p>
        </p:txBody>
      </p:sp>
      <p:sp>
        <p:nvSpPr>
          <p:cNvPr id="4" name="Slide Number Placeholder 3">
            <a:extLst>
              <a:ext uri="{FF2B5EF4-FFF2-40B4-BE49-F238E27FC236}">
                <a16:creationId xmlns:a16="http://schemas.microsoft.com/office/drawing/2014/main" id="{E5E18508-F512-EB39-BC31-BB973DE72072}"/>
              </a:ext>
            </a:extLst>
          </p:cNvPr>
          <p:cNvSpPr>
            <a:spLocks noGrp="1"/>
          </p:cNvSpPr>
          <p:nvPr>
            <p:ph type="sldNum" sz="quarter" idx="4"/>
          </p:nvPr>
        </p:nvSpPr>
        <p:spPr/>
        <p:txBody>
          <a:bodyPr/>
          <a:lstStyle/>
          <a:p>
            <a:fld id="{69C126A4-BD19-47E2-8A0E-0DE1B9D8C925}" type="slidenum">
              <a:rPr lang="en-US" smtClean="0"/>
              <a:pPr/>
              <a:t>27</a:t>
            </a:fld>
            <a:endParaRPr lang="en-US"/>
          </a:p>
        </p:txBody>
      </p:sp>
      <p:sp>
        <p:nvSpPr>
          <p:cNvPr id="7" name="Content Placeholder 5">
            <a:extLst>
              <a:ext uri="{FF2B5EF4-FFF2-40B4-BE49-F238E27FC236}">
                <a16:creationId xmlns:a16="http://schemas.microsoft.com/office/drawing/2014/main" id="{8B9BFBA8-FF78-1801-3DED-C2A97B550604}"/>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s 7.04 &amp; 7.14/SB 2185 Sections 1 &amp; 2</a:t>
            </a:r>
            <a:endParaRPr lang="en-US"/>
          </a:p>
          <a:p>
            <a:pPr marL="457200" lvl="1" indent="0">
              <a:buClr>
                <a:srgbClr val="F47F42"/>
              </a:buClr>
              <a:buNone/>
            </a:pPr>
            <a:r>
              <a:rPr lang="en-US">
                <a:solidFill>
                  <a:srgbClr val="F47F42"/>
                </a:solidFill>
              </a:rPr>
              <a:t>Texas Student Data System (TSDS):</a:t>
            </a:r>
          </a:p>
          <a:p>
            <a:pPr lvl="1">
              <a:buClr>
                <a:srgbClr val="F47F42"/>
              </a:buClr>
            </a:pPr>
            <a:r>
              <a:rPr lang="en-US"/>
              <a:t>New and deleted descriptors in the </a:t>
            </a:r>
            <a:r>
              <a:rPr lang="en-US" i="1" err="1"/>
              <a:t>LangInstruProgramSvc</a:t>
            </a:r>
            <a:r>
              <a:rPr lang="en-US" i="1"/>
              <a:t> </a:t>
            </a:r>
            <a:r>
              <a:rPr lang="en-US"/>
              <a:t>(C335) and </a:t>
            </a:r>
            <a:r>
              <a:rPr lang="en-US" i="1" err="1"/>
              <a:t>BilingualESLFunding</a:t>
            </a:r>
            <a:r>
              <a:rPr lang="en-US" i="1"/>
              <a:t> </a:t>
            </a:r>
            <a:r>
              <a:rPr lang="en-US"/>
              <a:t>(C225) tables.</a:t>
            </a:r>
          </a:p>
          <a:p>
            <a:pPr lvl="1">
              <a:buClr>
                <a:srgbClr val="F47F42"/>
              </a:buClr>
            </a:pPr>
            <a:r>
              <a:rPr lang="en-US"/>
              <a:t>Revised data element definition for </a:t>
            </a:r>
            <a:r>
              <a:rPr lang="en-US" i="1" err="1"/>
              <a:t>BilingualESLFunding</a:t>
            </a:r>
            <a:r>
              <a:rPr lang="en-US" i="1"/>
              <a:t> </a:t>
            </a:r>
            <a:r>
              <a:rPr lang="en-US"/>
              <a:t>(E1651) and </a:t>
            </a:r>
            <a:r>
              <a:rPr lang="en-US" i="1" err="1"/>
              <a:t>ParentalPermission</a:t>
            </a:r>
            <a:r>
              <a:rPr lang="en-US" i="1"/>
              <a:t> </a:t>
            </a:r>
            <a:r>
              <a:rPr lang="en-US"/>
              <a:t>(E0896).</a:t>
            </a:r>
          </a:p>
          <a:p>
            <a:pPr lvl="1">
              <a:buClr>
                <a:srgbClr val="F47F42"/>
              </a:buClr>
            </a:pPr>
            <a:r>
              <a:rPr lang="en-US"/>
              <a:t>Revised short descriptions in </a:t>
            </a:r>
            <a:r>
              <a:rPr lang="en-US" i="1" err="1"/>
              <a:t>ParentalPermission</a:t>
            </a:r>
            <a:r>
              <a:rPr lang="en-US" i="1"/>
              <a:t> </a:t>
            </a:r>
            <a:r>
              <a:rPr lang="en-US"/>
              <a:t>(C093).</a:t>
            </a:r>
          </a:p>
          <a:p>
            <a:pPr lvl="1">
              <a:buClr>
                <a:srgbClr val="F47F42"/>
              </a:buClr>
            </a:pPr>
            <a:r>
              <a:rPr lang="en-US"/>
              <a:t>New, revised, and deleted data validation rules.</a:t>
            </a:r>
          </a:p>
          <a:p>
            <a:pPr marL="457200" lvl="1" indent="0">
              <a:buClr>
                <a:srgbClr val="F47F42"/>
              </a:buClr>
              <a:buNone/>
            </a:pPr>
            <a:r>
              <a:rPr lang="en-US">
                <a:solidFill>
                  <a:srgbClr val="F47F42"/>
                </a:solidFill>
              </a:rPr>
              <a:t>Texas Records Exchange (TREx):</a:t>
            </a:r>
          </a:p>
          <a:p>
            <a:pPr lvl="1">
              <a:buClr>
                <a:srgbClr val="F47F42"/>
              </a:buClr>
            </a:pPr>
            <a:r>
              <a:rPr lang="en-US"/>
              <a:t>New codes added to ALTERNATIVE-LANGUAGE-PROGRAM-CODE (TC41)</a:t>
            </a:r>
          </a:p>
        </p:txBody>
      </p:sp>
      <p:sp>
        <p:nvSpPr>
          <p:cNvPr id="8" name="TextBox 7">
            <a:extLst>
              <a:ext uri="{FF2B5EF4-FFF2-40B4-BE49-F238E27FC236}">
                <a16:creationId xmlns:a16="http://schemas.microsoft.com/office/drawing/2014/main" id="{DE0B8E90-5DE3-232F-9562-E98700D75738}"/>
              </a:ext>
            </a:extLst>
          </p:cNvPr>
          <p:cNvSpPr txBox="1"/>
          <p:nvPr/>
        </p:nvSpPr>
        <p:spPr>
          <a:xfrm>
            <a:off x="285468" y="5836628"/>
            <a:ext cx="11306310"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mmer, Extended Year Submissions and TREx</a:t>
            </a:r>
          </a:p>
        </p:txBody>
      </p:sp>
    </p:spTree>
    <p:extLst>
      <p:ext uri="{BB962C8B-B14F-4D97-AF65-F5344CB8AC3E}">
        <p14:creationId xmlns:p14="http://schemas.microsoft.com/office/powerpoint/2010/main" val="11375788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5768C-8CDC-9286-05AA-D75710DDDB3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6D8FF7-9C2A-E1CF-8302-8833B5E5A68F}"/>
              </a:ext>
            </a:extLst>
          </p:cNvPr>
          <p:cNvSpPr>
            <a:spLocks noGrp="1"/>
          </p:cNvSpPr>
          <p:nvPr>
            <p:ph type="title"/>
          </p:nvPr>
        </p:nvSpPr>
        <p:spPr/>
        <p:txBody>
          <a:bodyPr/>
          <a:lstStyle/>
          <a:p>
            <a:r>
              <a:rPr lang="en-US"/>
              <a:t>HB 6</a:t>
            </a:r>
          </a:p>
        </p:txBody>
      </p:sp>
      <p:sp>
        <p:nvSpPr>
          <p:cNvPr id="6" name="Content Placeholder 5">
            <a:extLst>
              <a:ext uri="{FF2B5EF4-FFF2-40B4-BE49-F238E27FC236}">
                <a16:creationId xmlns:a16="http://schemas.microsoft.com/office/drawing/2014/main" id="{BD4F124C-506E-8CBB-FDF6-88E5FDAF3723}"/>
              </a:ext>
            </a:extLst>
          </p:cNvPr>
          <p:cNvSpPr>
            <a:spLocks noGrp="1"/>
          </p:cNvSpPr>
          <p:nvPr>
            <p:ph idx="1"/>
          </p:nvPr>
        </p:nvSpPr>
        <p:spPr/>
        <p:txBody>
          <a:bodyPr/>
          <a:lstStyle/>
          <a:p>
            <a:r>
              <a:rPr lang="en-US">
                <a:solidFill>
                  <a:srgbClr val="F47F42"/>
                </a:solidFill>
              </a:rPr>
              <a:t>HB 6</a:t>
            </a:r>
            <a:r>
              <a:rPr lang="en-US"/>
              <a:t> amends Texas Education Code Chapter 37. New provisions are added for in-school and out-of-school suspensions, allowing mandatory expulsions regardless of the location where the behavior occurred. It separates the offense of possessing and using e-cigarettes from the offense of selling, giving, or delivering e-cigarettes.  It also adds additional behaviors when an LEA can assign a student to a disciplinary action education program, and it allows the placement of expelled students in virtual or in-person expulsion programs. Procedures for temporary alternative placements for students with disabilities are also outlined.</a:t>
            </a:r>
          </a:p>
        </p:txBody>
      </p:sp>
      <p:sp>
        <p:nvSpPr>
          <p:cNvPr id="4" name="Slide Number Placeholder 3">
            <a:extLst>
              <a:ext uri="{FF2B5EF4-FFF2-40B4-BE49-F238E27FC236}">
                <a16:creationId xmlns:a16="http://schemas.microsoft.com/office/drawing/2014/main" id="{8770D194-A985-FD3F-7531-0E67278DACEB}"/>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16663347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56B044-E992-B483-DCE5-80181A229C8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658E2-E61D-8F5F-7875-42B3165DA221}"/>
              </a:ext>
            </a:extLst>
          </p:cNvPr>
          <p:cNvSpPr>
            <a:spLocks noGrp="1"/>
          </p:cNvSpPr>
          <p:nvPr>
            <p:ph type="title"/>
          </p:nvPr>
        </p:nvSpPr>
        <p:spPr/>
        <p:txBody>
          <a:bodyPr/>
          <a:lstStyle/>
          <a:p>
            <a:r>
              <a:rPr lang="en-US"/>
              <a:t>HB 6 – Possible Impact</a:t>
            </a:r>
          </a:p>
        </p:txBody>
      </p:sp>
      <p:sp>
        <p:nvSpPr>
          <p:cNvPr id="4" name="Slide Number Placeholder 3">
            <a:extLst>
              <a:ext uri="{FF2B5EF4-FFF2-40B4-BE49-F238E27FC236}">
                <a16:creationId xmlns:a16="http://schemas.microsoft.com/office/drawing/2014/main" id="{A1703FE8-0436-D654-61C0-24ECD601A15F}"/>
              </a:ext>
            </a:extLst>
          </p:cNvPr>
          <p:cNvSpPr>
            <a:spLocks noGrp="1"/>
          </p:cNvSpPr>
          <p:nvPr>
            <p:ph type="sldNum" sz="quarter" idx="4"/>
          </p:nvPr>
        </p:nvSpPr>
        <p:spPr/>
        <p:txBody>
          <a:bodyPr/>
          <a:lstStyle/>
          <a:p>
            <a:fld id="{69C126A4-BD19-47E2-8A0E-0DE1B9D8C925}" type="slidenum">
              <a:rPr lang="en-US" smtClean="0"/>
              <a:pPr/>
              <a:t>29</a:t>
            </a:fld>
            <a:endParaRPr lang="en-US"/>
          </a:p>
        </p:txBody>
      </p:sp>
      <p:sp>
        <p:nvSpPr>
          <p:cNvPr id="7" name="Content Placeholder 5">
            <a:extLst>
              <a:ext uri="{FF2B5EF4-FFF2-40B4-BE49-F238E27FC236}">
                <a16:creationId xmlns:a16="http://schemas.microsoft.com/office/drawing/2014/main" id="{82314D48-196C-D710-3ACE-23B8EAAC13D1}"/>
              </a:ext>
            </a:extLst>
          </p:cNvPr>
          <p:cNvSpPr>
            <a:spLocks noGrp="1"/>
          </p:cNvSpPr>
          <p:nvPr>
            <p:ph idx="1"/>
          </p:nvPr>
        </p:nvSpPr>
        <p:spPr>
          <a:xfrm>
            <a:off x="285468" y="1496252"/>
            <a:ext cx="11544581" cy="5032873"/>
          </a:xfrm>
        </p:spPr>
        <p:txBody>
          <a:bodyPr/>
          <a:lstStyle/>
          <a:p>
            <a:pPr>
              <a:buClr>
                <a:srgbClr val="F47F42"/>
              </a:buClr>
            </a:pPr>
            <a:r>
              <a:rPr lang="en-US" sz="2400">
                <a:solidFill>
                  <a:srgbClr val="F47F42"/>
                </a:solidFill>
              </a:rPr>
              <a:t>HB 6</a:t>
            </a:r>
            <a:endParaRPr lang="en-US" sz="2400"/>
          </a:p>
          <a:p>
            <a:pPr marL="457200" lvl="1" indent="0">
              <a:buClr>
                <a:srgbClr val="F47F42"/>
              </a:buClr>
              <a:buNone/>
            </a:pPr>
            <a:r>
              <a:rPr lang="en-US" sz="2000">
                <a:solidFill>
                  <a:srgbClr val="F47F42"/>
                </a:solidFill>
              </a:rPr>
              <a:t>Texas Student Data System (TSDS): </a:t>
            </a:r>
          </a:p>
          <a:p>
            <a:pPr lvl="1">
              <a:buClr>
                <a:srgbClr val="F47F42"/>
              </a:buClr>
            </a:pPr>
            <a:r>
              <a:rPr lang="en-US" sz="2000"/>
              <a:t>New, revised, and deleted descriptors in the </a:t>
            </a:r>
            <a:r>
              <a:rPr lang="en-US" sz="2000" i="1"/>
              <a:t>Behavior </a:t>
            </a:r>
            <a:r>
              <a:rPr lang="en-US" sz="2000"/>
              <a:t>(C165) and </a:t>
            </a:r>
            <a:r>
              <a:rPr lang="en-US" sz="2000" i="1" err="1"/>
              <a:t>IncidentLocation</a:t>
            </a:r>
            <a:r>
              <a:rPr lang="en-US" sz="2000" i="1"/>
              <a:t> </a:t>
            </a:r>
            <a:r>
              <a:rPr lang="en-US" sz="2000"/>
              <a:t>(C190) tables.</a:t>
            </a:r>
          </a:p>
          <a:p>
            <a:pPr lvl="1">
              <a:buClr>
                <a:srgbClr val="F47F42"/>
              </a:buClr>
            </a:pPr>
            <a:r>
              <a:rPr lang="en-US" sz="2000"/>
              <a:t>New and revised descriptors in the </a:t>
            </a:r>
            <a:r>
              <a:rPr lang="en-US" sz="2000" i="1"/>
              <a:t>Discipline </a:t>
            </a:r>
            <a:r>
              <a:rPr lang="en-US" sz="2000"/>
              <a:t>(C164) table.</a:t>
            </a:r>
          </a:p>
          <a:p>
            <a:pPr lvl="1">
              <a:buClr>
                <a:srgbClr val="F47F42"/>
              </a:buClr>
            </a:pPr>
            <a:r>
              <a:rPr lang="en-US" sz="2000"/>
              <a:t>New and deleted descriptors in the </a:t>
            </a:r>
            <a:r>
              <a:rPr lang="en-US" sz="2000" i="1"/>
              <a:t>DisciplineActionLengthDifferenceReason</a:t>
            </a:r>
            <a:r>
              <a:rPr lang="en-US" sz="2000"/>
              <a:t> (C166) table.</a:t>
            </a:r>
          </a:p>
          <a:p>
            <a:pPr lvl="1">
              <a:buClr>
                <a:srgbClr val="F47F42"/>
              </a:buClr>
            </a:pPr>
            <a:r>
              <a:rPr lang="en-US" sz="2000"/>
              <a:t>New, revised, and deleted data validation rules.</a:t>
            </a:r>
          </a:p>
          <a:p>
            <a:pPr marL="457200" lvl="1" indent="0">
              <a:buClr>
                <a:srgbClr val="F47F42"/>
              </a:buClr>
              <a:buNone/>
            </a:pPr>
            <a:r>
              <a:rPr lang="en-US" sz="2000">
                <a:solidFill>
                  <a:srgbClr val="F47F42"/>
                </a:solidFill>
              </a:rPr>
              <a:t>Texas Records Exchange (TREx):</a:t>
            </a:r>
          </a:p>
          <a:p>
            <a:pPr lvl="1">
              <a:buClr>
                <a:srgbClr val="F47F42"/>
              </a:buClr>
            </a:pPr>
            <a:r>
              <a:rPr lang="en-US" sz="2000"/>
              <a:t>New, revised, and deleted codes in the DISCIPLINARY-ACTION-REASON (TC07) and BEHAVIOR-LOCATION-CODE (TC51).</a:t>
            </a:r>
          </a:p>
          <a:p>
            <a:pPr lvl="1">
              <a:buClr>
                <a:srgbClr val="F47F42"/>
              </a:buClr>
            </a:pPr>
            <a:r>
              <a:rPr lang="en-US" sz="2000"/>
              <a:t>New and revised codes in the DISCIPLINARY-ACTION-CODE (TC06) table.</a:t>
            </a:r>
          </a:p>
          <a:p>
            <a:pPr lvl="1">
              <a:buClr>
                <a:srgbClr val="F47F42"/>
              </a:buClr>
            </a:pPr>
            <a:r>
              <a:rPr lang="en-US" sz="2000"/>
              <a:t>New and deleted descriptors in the DISCIPLINARY-LENGTH-DIFFERENCE-REASON-CODE (TC52) table.</a:t>
            </a:r>
          </a:p>
        </p:txBody>
      </p:sp>
      <p:sp>
        <p:nvSpPr>
          <p:cNvPr id="8" name="TextBox 7">
            <a:extLst>
              <a:ext uri="{FF2B5EF4-FFF2-40B4-BE49-F238E27FC236}">
                <a16:creationId xmlns:a16="http://schemas.microsoft.com/office/drawing/2014/main" id="{4C9F4EDA-E02B-C509-8F12-CEFD086D5C01}"/>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Summer Submission and TREx</a:t>
            </a:r>
          </a:p>
        </p:txBody>
      </p:sp>
    </p:spTree>
    <p:extLst>
      <p:ext uri="{BB962C8B-B14F-4D97-AF65-F5344CB8AC3E}">
        <p14:creationId xmlns:p14="http://schemas.microsoft.com/office/powerpoint/2010/main" val="1577138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F5C17-BBC1-877E-602A-C7112D2C369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94A100F-6FB4-AD09-5DAF-0CF5B1340414}"/>
              </a:ext>
            </a:extLst>
          </p:cNvPr>
          <p:cNvSpPr>
            <a:spLocks noGrp="1"/>
          </p:cNvSpPr>
          <p:nvPr>
            <p:ph type="ctrTitle"/>
          </p:nvPr>
        </p:nvSpPr>
        <p:spPr/>
        <p:txBody>
          <a:bodyPr/>
          <a:lstStyle/>
          <a:p>
            <a:r>
              <a:rPr lang="en-US"/>
              <a:t>2025-2026 Agenda</a:t>
            </a:r>
          </a:p>
        </p:txBody>
      </p:sp>
      <p:sp>
        <p:nvSpPr>
          <p:cNvPr id="3" name="Slide Number Placeholder 2">
            <a:extLst>
              <a:ext uri="{FF2B5EF4-FFF2-40B4-BE49-F238E27FC236}">
                <a16:creationId xmlns:a16="http://schemas.microsoft.com/office/drawing/2014/main" id="{C935CDA7-C55A-0AC1-E557-EF5B0686CAAD}"/>
              </a:ext>
            </a:extLst>
          </p:cNvPr>
          <p:cNvSpPr>
            <a:spLocks noGrp="1"/>
          </p:cNvSpPr>
          <p:nvPr>
            <p:ph type="sldNum" sz="quarter" idx="4"/>
          </p:nvPr>
        </p:nvSpPr>
        <p:spPr/>
        <p:txBody>
          <a:bodyPr/>
          <a:lstStyle/>
          <a:p>
            <a:fld id="{69C126A4-BD19-47E2-8A0E-0DE1B9D8C925}" type="slidenum">
              <a:rPr lang="en-US" smtClean="0"/>
              <a:pPr/>
              <a:t>3</a:t>
            </a:fld>
            <a:endParaRPr lang="en-US"/>
          </a:p>
        </p:txBody>
      </p:sp>
      <p:sp>
        <p:nvSpPr>
          <p:cNvPr id="6" name="TextBox 5">
            <a:extLst>
              <a:ext uri="{FF2B5EF4-FFF2-40B4-BE49-F238E27FC236}">
                <a16:creationId xmlns:a16="http://schemas.microsoft.com/office/drawing/2014/main" id="{EEC02397-CF23-8071-0DC5-5D4C36301918}"/>
              </a:ext>
            </a:extLst>
          </p:cNvPr>
          <p:cNvSpPr txBox="1"/>
          <p:nvPr/>
        </p:nvSpPr>
        <p:spPr>
          <a:xfrm>
            <a:off x="2165041" y="1617317"/>
            <a:ext cx="9399422" cy="3754874"/>
          </a:xfrm>
          <a:prstGeom prst="rect">
            <a:avLst/>
          </a:prstGeom>
          <a:noFill/>
        </p:spPr>
        <p:txBody>
          <a:bodyPr wrap="square">
            <a:spAutoFit/>
          </a:bodyPr>
          <a:lstStyle/>
          <a:p>
            <a:pPr>
              <a:spcAft>
                <a:spcPts val="1200"/>
              </a:spcAft>
              <a:buClr>
                <a:srgbClr val="D85632"/>
              </a:buClr>
            </a:pPr>
            <a:r>
              <a:rPr lang="en-US" sz="2800" b="1">
                <a:solidFill>
                  <a:srgbClr val="D85632"/>
                </a:solidFill>
                <a:latin typeface="Aptos" panose="020B0004020202020204" pitchFamily="34" charset="0"/>
              </a:rPr>
              <a:t>2025-2026</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1.07 and 2.03 – Teacher Retention Allotment </a:t>
            </a:r>
            <a:r>
              <a:rPr lang="en-US">
                <a:solidFill>
                  <a:srgbClr val="D85632"/>
                </a:solidFill>
                <a:latin typeface="Aptos" panose="020B0004020202020204" pitchFamily="34" charset="0"/>
              </a:rPr>
              <a:t>*New Data Element*</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13 – New PK Qualification </a:t>
            </a:r>
            <a:r>
              <a:rPr lang="en-US">
                <a:solidFill>
                  <a:srgbClr val="D85632"/>
                </a:solidFill>
                <a:latin typeface="Aptos" panose="020B0004020202020204" pitchFamily="34" charset="0"/>
              </a:rPr>
              <a:t>*New Descriptor*</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24 – ADSY Changes </a:t>
            </a:r>
            <a:r>
              <a:rPr lang="en-US">
                <a:solidFill>
                  <a:srgbClr val="D85632"/>
                </a:solidFill>
                <a:latin typeface="Aptos" panose="020B0004020202020204" pitchFamily="34" charset="0"/>
              </a:rPr>
              <a:t>*Revised Guidance*</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25 – Additional Instructional Days for Reading Intervention </a:t>
            </a:r>
            <a:r>
              <a:rPr lang="en-US">
                <a:solidFill>
                  <a:srgbClr val="D85632"/>
                </a:solidFill>
                <a:latin typeface="Aptos" panose="020B0004020202020204" pitchFamily="34" charset="0"/>
              </a:rPr>
              <a:t>*New Descriptor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7.13 – Small and Mid-Sized Allotment Virtual Student Exclusion </a:t>
            </a:r>
            <a:r>
              <a:rPr lang="en-US">
                <a:solidFill>
                  <a:srgbClr val="D85632"/>
                </a:solidFill>
                <a:latin typeface="Aptos" panose="020B0004020202020204" pitchFamily="34" charset="0"/>
              </a:rPr>
              <a:t>*New Descriptor*</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7.16 – Allotment for Basic Costs </a:t>
            </a:r>
            <a:r>
              <a:rPr lang="en-US">
                <a:solidFill>
                  <a:srgbClr val="D85632"/>
                </a:solidFill>
                <a:latin typeface="Aptos" panose="020B0004020202020204" pitchFamily="34" charset="0"/>
              </a:rPr>
              <a:t>*New Descriptor*</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7.19 – Attendance Every Six Weeks </a:t>
            </a:r>
            <a:r>
              <a:rPr lang="en-US">
                <a:solidFill>
                  <a:srgbClr val="D85632"/>
                </a:solidFill>
                <a:latin typeface="Aptos" panose="020B0004020202020204" pitchFamily="34" charset="0"/>
              </a:rPr>
              <a:t>*New Submissions (not new data)*</a:t>
            </a:r>
            <a:endParaRPr lang="en-US" sz="2000">
              <a:solidFill>
                <a:srgbClr val="D85632"/>
              </a:solidFill>
              <a:latin typeface="Aptos" panose="020B0004020202020204" pitchFamily="34" charset="0"/>
            </a:endParaRPr>
          </a:p>
        </p:txBody>
      </p:sp>
    </p:spTree>
    <p:extLst>
      <p:ext uri="{BB962C8B-B14F-4D97-AF65-F5344CB8AC3E}">
        <p14:creationId xmlns:p14="http://schemas.microsoft.com/office/powerpoint/2010/main" val="161098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9B037-40AB-2406-2EB9-D852685C176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48E0932-C5B7-676F-3BDE-5217B68A8819}"/>
              </a:ext>
            </a:extLst>
          </p:cNvPr>
          <p:cNvSpPr>
            <a:spLocks noGrp="1"/>
          </p:cNvSpPr>
          <p:nvPr>
            <p:ph type="title"/>
          </p:nvPr>
        </p:nvSpPr>
        <p:spPr/>
        <p:txBody>
          <a:bodyPr/>
          <a:lstStyle/>
          <a:p>
            <a:r>
              <a:rPr lang="en-US"/>
              <a:t>SB 569</a:t>
            </a:r>
          </a:p>
        </p:txBody>
      </p:sp>
      <p:sp>
        <p:nvSpPr>
          <p:cNvPr id="6" name="Content Placeholder 5">
            <a:extLst>
              <a:ext uri="{FF2B5EF4-FFF2-40B4-BE49-F238E27FC236}">
                <a16:creationId xmlns:a16="http://schemas.microsoft.com/office/drawing/2014/main" id="{F2C4EEAC-B774-544E-5992-C8A23D099EB2}"/>
              </a:ext>
            </a:extLst>
          </p:cNvPr>
          <p:cNvSpPr>
            <a:spLocks noGrp="1"/>
          </p:cNvSpPr>
          <p:nvPr>
            <p:ph idx="1"/>
          </p:nvPr>
        </p:nvSpPr>
        <p:spPr/>
        <p:txBody>
          <a:bodyPr/>
          <a:lstStyle/>
          <a:p>
            <a:r>
              <a:rPr lang="en-US">
                <a:solidFill>
                  <a:srgbClr val="F47F42"/>
                </a:solidFill>
              </a:rPr>
              <a:t>SB 569 </a:t>
            </a:r>
            <a:r>
              <a:rPr lang="en-US"/>
              <a:t>makes changes to virtual education. The bill adds Chapter 30B, Virtual and Hybrid Campuses, Programs, and Courses, and defines and outlines each virtual option for an LEA. The bill removes Chapter 30A State Virtual School Network. </a:t>
            </a:r>
          </a:p>
        </p:txBody>
      </p:sp>
      <p:sp>
        <p:nvSpPr>
          <p:cNvPr id="4" name="Slide Number Placeholder 3">
            <a:extLst>
              <a:ext uri="{FF2B5EF4-FFF2-40B4-BE49-F238E27FC236}">
                <a16:creationId xmlns:a16="http://schemas.microsoft.com/office/drawing/2014/main" id="{0C4E0E4C-4F25-1A53-ACB8-7FF56F72E3B5}"/>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12514658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F0738-2F96-9907-1454-5E3F1DA5FCC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6688193-98DD-0DD5-DACA-716E60C49593}"/>
              </a:ext>
            </a:extLst>
          </p:cNvPr>
          <p:cNvSpPr>
            <a:spLocks noGrp="1"/>
          </p:cNvSpPr>
          <p:nvPr>
            <p:ph type="title"/>
          </p:nvPr>
        </p:nvSpPr>
        <p:spPr/>
        <p:txBody>
          <a:bodyPr/>
          <a:lstStyle/>
          <a:p>
            <a:r>
              <a:rPr lang="en-US"/>
              <a:t>SB 569 – Possible Impact</a:t>
            </a:r>
          </a:p>
        </p:txBody>
      </p:sp>
      <p:sp>
        <p:nvSpPr>
          <p:cNvPr id="4" name="Slide Number Placeholder 3">
            <a:extLst>
              <a:ext uri="{FF2B5EF4-FFF2-40B4-BE49-F238E27FC236}">
                <a16:creationId xmlns:a16="http://schemas.microsoft.com/office/drawing/2014/main" id="{08AD2BC8-ED80-EB88-DCB8-B5A0C2D5E92C}"/>
              </a:ext>
            </a:extLst>
          </p:cNvPr>
          <p:cNvSpPr>
            <a:spLocks noGrp="1"/>
          </p:cNvSpPr>
          <p:nvPr>
            <p:ph type="sldNum" sz="quarter" idx="4"/>
          </p:nvPr>
        </p:nvSpPr>
        <p:spPr/>
        <p:txBody>
          <a:bodyPr/>
          <a:lstStyle/>
          <a:p>
            <a:fld id="{69C126A4-BD19-47E2-8A0E-0DE1B9D8C925}" type="slidenum">
              <a:rPr lang="en-US" smtClean="0"/>
              <a:pPr/>
              <a:t>31</a:t>
            </a:fld>
            <a:endParaRPr lang="en-US"/>
          </a:p>
        </p:txBody>
      </p:sp>
      <p:sp>
        <p:nvSpPr>
          <p:cNvPr id="7" name="Content Placeholder 5">
            <a:extLst>
              <a:ext uri="{FF2B5EF4-FFF2-40B4-BE49-F238E27FC236}">
                <a16:creationId xmlns:a16="http://schemas.microsoft.com/office/drawing/2014/main" id="{66557640-DBE5-2C44-325B-27336FA62423}"/>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SB 569</a:t>
            </a:r>
            <a:endParaRPr lang="en-US"/>
          </a:p>
          <a:p>
            <a:pPr marL="457200" lvl="1" indent="0" fontAlgn="base">
              <a:buNone/>
            </a:pPr>
            <a:r>
              <a:rPr lang="en-US"/>
              <a:t> </a:t>
            </a:r>
            <a:r>
              <a:rPr lang="en-US">
                <a:solidFill>
                  <a:srgbClr val="F47F42"/>
                </a:solidFill>
              </a:rPr>
              <a:t>Texas Student Data System (TSDS): </a:t>
            </a:r>
          </a:p>
          <a:p>
            <a:pPr lvl="1" fontAlgn="base"/>
            <a:r>
              <a:rPr lang="en-US"/>
              <a:t>All instances of Chapter 30A and the State Virtual School Network will be removed from data elements, descriptor tables, data validation rules, and reports. </a:t>
            </a:r>
          </a:p>
          <a:p>
            <a:pPr lvl="1" fontAlgn="base"/>
            <a:r>
              <a:rPr lang="en-US"/>
              <a:t>New descriptors in the </a:t>
            </a:r>
            <a:r>
              <a:rPr lang="en-US" i="1" err="1"/>
              <a:t>CalendarType</a:t>
            </a:r>
            <a:r>
              <a:rPr lang="en-US"/>
              <a:t> (C215) table and a </a:t>
            </a:r>
            <a:r>
              <a:rPr lang="en-US" i="1"/>
              <a:t>StudentCharacteristic </a:t>
            </a:r>
            <a:r>
              <a:rPr lang="en-US"/>
              <a:t>(C344). </a:t>
            </a:r>
          </a:p>
          <a:p>
            <a:pPr lvl="1" fontAlgn="base"/>
            <a:r>
              <a:rPr lang="en-US"/>
              <a:t>Data validation rule additions and revisions.</a:t>
            </a:r>
            <a:endParaRPr lang="en-US" sz="5000"/>
          </a:p>
        </p:txBody>
      </p:sp>
      <p:sp>
        <p:nvSpPr>
          <p:cNvPr id="8" name="TextBox 7">
            <a:extLst>
              <a:ext uri="{FF2B5EF4-FFF2-40B4-BE49-F238E27FC236}">
                <a16:creationId xmlns:a16="http://schemas.microsoft.com/office/drawing/2014/main" id="{F52C3DD2-868D-D0DC-EB72-2250A18B5FE9}"/>
              </a:ext>
            </a:extLst>
          </p:cNvPr>
          <p:cNvSpPr txBox="1"/>
          <p:nvPr/>
        </p:nvSpPr>
        <p:spPr>
          <a:xfrm>
            <a:off x="285468" y="5836628"/>
            <a:ext cx="7447074"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and Summer Submissions</a:t>
            </a:r>
          </a:p>
        </p:txBody>
      </p:sp>
    </p:spTree>
    <p:extLst>
      <p:ext uri="{BB962C8B-B14F-4D97-AF65-F5344CB8AC3E}">
        <p14:creationId xmlns:p14="http://schemas.microsoft.com/office/powerpoint/2010/main" val="41870508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4D930-C4A6-E5D6-73DE-17C2FF78732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C4B2BDE-9226-B874-CFCD-9D20192ED9BB}"/>
              </a:ext>
            </a:extLst>
          </p:cNvPr>
          <p:cNvSpPr>
            <a:spLocks noGrp="1"/>
          </p:cNvSpPr>
          <p:nvPr>
            <p:ph type="title"/>
          </p:nvPr>
        </p:nvSpPr>
        <p:spPr/>
        <p:txBody>
          <a:bodyPr/>
          <a:lstStyle/>
          <a:p>
            <a:r>
              <a:rPr lang="en-US"/>
              <a:t>SB 991</a:t>
            </a:r>
          </a:p>
        </p:txBody>
      </p:sp>
      <p:sp>
        <p:nvSpPr>
          <p:cNvPr id="6" name="Content Placeholder 5">
            <a:extLst>
              <a:ext uri="{FF2B5EF4-FFF2-40B4-BE49-F238E27FC236}">
                <a16:creationId xmlns:a16="http://schemas.microsoft.com/office/drawing/2014/main" id="{6B72A0C4-CA79-E863-8842-3F6A627EEA88}"/>
              </a:ext>
            </a:extLst>
          </p:cNvPr>
          <p:cNvSpPr>
            <a:spLocks noGrp="1"/>
          </p:cNvSpPr>
          <p:nvPr>
            <p:ph idx="1"/>
          </p:nvPr>
        </p:nvSpPr>
        <p:spPr/>
        <p:txBody>
          <a:bodyPr/>
          <a:lstStyle/>
          <a:p>
            <a:r>
              <a:rPr lang="en-US">
                <a:solidFill>
                  <a:srgbClr val="F47F42"/>
                </a:solidFill>
              </a:rPr>
              <a:t>SB 991</a:t>
            </a:r>
            <a:r>
              <a:rPr lang="en-US"/>
              <a:t> amends TEC §29.081(d) by adding chronic absenteeism as defined by  TEC §48.009 to the list of reasons a student could be considered at risk of dropping out of school. Also added is a student who is required to attend school under TEC §25.085,  who is not exempted under TEC §25.086, and fails to attend school without excuse for 10 or more days or parts of days within a six-month period in the same school year. </a:t>
            </a:r>
          </a:p>
        </p:txBody>
      </p:sp>
      <p:sp>
        <p:nvSpPr>
          <p:cNvPr id="4" name="Slide Number Placeholder 3">
            <a:extLst>
              <a:ext uri="{FF2B5EF4-FFF2-40B4-BE49-F238E27FC236}">
                <a16:creationId xmlns:a16="http://schemas.microsoft.com/office/drawing/2014/main" id="{E5225E2D-09C9-A1B3-2C85-393497292BE4}"/>
              </a:ext>
            </a:extLst>
          </p:cNvPr>
          <p:cNvSpPr>
            <a:spLocks noGrp="1"/>
          </p:cNvSpPr>
          <p:nvPr>
            <p:ph type="sldNum" sz="quarter" idx="4"/>
          </p:nvPr>
        </p:nvSpPr>
        <p:spPr/>
        <p:txBody>
          <a:bodyPr/>
          <a:lstStyle/>
          <a:p>
            <a:fld id="{69C126A4-BD19-47E2-8A0E-0DE1B9D8C925}" type="slidenum">
              <a:rPr lang="en-US" smtClean="0"/>
              <a:pPr/>
              <a:t>32</a:t>
            </a:fld>
            <a:endParaRPr lang="en-US"/>
          </a:p>
        </p:txBody>
      </p:sp>
    </p:spTree>
    <p:extLst>
      <p:ext uri="{BB962C8B-B14F-4D97-AF65-F5344CB8AC3E}">
        <p14:creationId xmlns:p14="http://schemas.microsoft.com/office/powerpoint/2010/main" val="3191131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20E04-D34A-4BB4-4697-F7CD79C820A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C767686-AB64-3967-22FB-CE4A68F57BAE}"/>
              </a:ext>
            </a:extLst>
          </p:cNvPr>
          <p:cNvSpPr>
            <a:spLocks noGrp="1"/>
          </p:cNvSpPr>
          <p:nvPr>
            <p:ph type="title"/>
          </p:nvPr>
        </p:nvSpPr>
        <p:spPr/>
        <p:txBody>
          <a:bodyPr/>
          <a:lstStyle/>
          <a:p>
            <a:r>
              <a:rPr lang="en-US"/>
              <a:t>SB 991 – Possible Impact</a:t>
            </a:r>
          </a:p>
        </p:txBody>
      </p:sp>
      <p:sp>
        <p:nvSpPr>
          <p:cNvPr id="4" name="Slide Number Placeholder 3">
            <a:extLst>
              <a:ext uri="{FF2B5EF4-FFF2-40B4-BE49-F238E27FC236}">
                <a16:creationId xmlns:a16="http://schemas.microsoft.com/office/drawing/2014/main" id="{83E8A207-3CF5-B376-1AAE-8564FBABC164}"/>
              </a:ext>
            </a:extLst>
          </p:cNvPr>
          <p:cNvSpPr>
            <a:spLocks noGrp="1"/>
          </p:cNvSpPr>
          <p:nvPr>
            <p:ph type="sldNum" sz="quarter" idx="4"/>
          </p:nvPr>
        </p:nvSpPr>
        <p:spPr/>
        <p:txBody>
          <a:bodyPr/>
          <a:lstStyle/>
          <a:p>
            <a:fld id="{69C126A4-BD19-47E2-8A0E-0DE1B9D8C925}" type="slidenum">
              <a:rPr lang="en-US" smtClean="0"/>
              <a:pPr/>
              <a:t>33</a:t>
            </a:fld>
            <a:endParaRPr lang="en-US"/>
          </a:p>
        </p:txBody>
      </p:sp>
      <p:sp>
        <p:nvSpPr>
          <p:cNvPr id="7" name="Content Placeholder 5">
            <a:extLst>
              <a:ext uri="{FF2B5EF4-FFF2-40B4-BE49-F238E27FC236}">
                <a16:creationId xmlns:a16="http://schemas.microsoft.com/office/drawing/2014/main" id="{779E54CA-A60A-03EB-AE9A-A7837FCC7070}"/>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SB 991</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Revision of the definition for one existing </a:t>
            </a:r>
            <a:r>
              <a:rPr lang="en-US" i="1"/>
              <a:t>StudentCharacteristic </a:t>
            </a:r>
            <a:r>
              <a:rPr lang="en-US"/>
              <a:t>descriptor, </a:t>
            </a:r>
            <a:r>
              <a:rPr lang="en-US" i="1"/>
              <a:t>01</a:t>
            </a:r>
            <a:r>
              <a:rPr lang="en-US"/>
              <a:t> (At-Risk).</a:t>
            </a:r>
          </a:p>
          <a:p>
            <a:pPr marL="457200" lvl="1" indent="0">
              <a:buClr>
                <a:srgbClr val="F47F42"/>
              </a:buClr>
              <a:buNone/>
            </a:pPr>
            <a:r>
              <a:rPr lang="en-US">
                <a:solidFill>
                  <a:srgbClr val="F47F42"/>
                </a:solidFill>
              </a:rPr>
              <a:t>Texas Records Exchange (TREx):</a:t>
            </a:r>
          </a:p>
          <a:p>
            <a:pPr lvl="1">
              <a:buClr>
                <a:srgbClr val="F47F42"/>
              </a:buClr>
            </a:pPr>
            <a:r>
              <a:rPr lang="en-US">
                <a:solidFill>
                  <a:srgbClr val="0D6CB9"/>
                </a:solidFill>
              </a:rPr>
              <a:t>Revision of the definition for AT-RISK-INDICATOR (TE0008)</a:t>
            </a:r>
            <a:r>
              <a:rPr lang="en-US">
                <a:solidFill>
                  <a:srgbClr val="F47F42"/>
                </a:solidFill>
              </a:rPr>
              <a:t>.</a:t>
            </a:r>
            <a:endParaRPr lang="en-US"/>
          </a:p>
        </p:txBody>
      </p:sp>
      <p:sp>
        <p:nvSpPr>
          <p:cNvPr id="8" name="TextBox 7">
            <a:extLst>
              <a:ext uri="{FF2B5EF4-FFF2-40B4-BE49-F238E27FC236}">
                <a16:creationId xmlns:a16="http://schemas.microsoft.com/office/drawing/2014/main" id="{335F7D1B-31DA-8174-00A3-5911E2113B9C}"/>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 and TREx</a:t>
            </a:r>
          </a:p>
        </p:txBody>
      </p:sp>
    </p:spTree>
    <p:extLst>
      <p:ext uri="{BB962C8B-B14F-4D97-AF65-F5344CB8AC3E}">
        <p14:creationId xmlns:p14="http://schemas.microsoft.com/office/powerpoint/2010/main" val="1479616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ED6A5-0956-DA2D-75A0-179FB410852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737725F-B75A-64D5-F059-CB04A95870FF}"/>
              </a:ext>
            </a:extLst>
          </p:cNvPr>
          <p:cNvSpPr>
            <a:spLocks noGrp="1"/>
          </p:cNvSpPr>
          <p:nvPr>
            <p:ph type="title"/>
          </p:nvPr>
        </p:nvSpPr>
        <p:spPr/>
        <p:txBody>
          <a:bodyPr/>
          <a:lstStyle/>
          <a:p>
            <a:r>
              <a:rPr lang="en-US"/>
              <a:t>SB 12 – Section 20</a:t>
            </a:r>
          </a:p>
        </p:txBody>
      </p:sp>
      <p:sp>
        <p:nvSpPr>
          <p:cNvPr id="6" name="Content Placeholder 5">
            <a:extLst>
              <a:ext uri="{FF2B5EF4-FFF2-40B4-BE49-F238E27FC236}">
                <a16:creationId xmlns:a16="http://schemas.microsoft.com/office/drawing/2014/main" id="{5FD0380E-90B1-9597-233E-E85F6E657CFB}"/>
              </a:ext>
            </a:extLst>
          </p:cNvPr>
          <p:cNvSpPr>
            <a:spLocks noGrp="1"/>
          </p:cNvSpPr>
          <p:nvPr>
            <p:ph idx="1"/>
          </p:nvPr>
        </p:nvSpPr>
        <p:spPr/>
        <p:txBody>
          <a:bodyPr/>
          <a:lstStyle/>
          <a:p>
            <a:r>
              <a:rPr lang="en-US">
                <a:solidFill>
                  <a:srgbClr val="F47F42"/>
                </a:solidFill>
              </a:rPr>
              <a:t>SB 12 Section 20</a:t>
            </a:r>
            <a:r>
              <a:rPr lang="en-US"/>
              <a:t> amends Subtitle E, Title 2, Education Code, by adding Chapter 26A. </a:t>
            </a:r>
          </a:p>
          <a:p>
            <a:pPr marL="457200" lvl="1" indent="0">
              <a:buNone/>
            </a:pPr>
            <a:r>
              <a:rPr lang="en-US" sz="2800"/>
              <a:t>TEC §26A.001(a) The board of trustees of a school district shall adopt a </a:t>
            </a:r>
            <a:r>
              <a:rPr lang="en-US" sz="2800">
                <a:solidFill>
                  <a:srgbClr val="F47F42"/>
                </a:solidFill>
              </a:rPr>
              <a:t>grievance policy </a:t>
            </a:r>
            <a:r>
              <a:rPr lang="en-US" sz="2800"/>
              <a:t>to address grievances received by the district.</a:t>
            </a:r>
          </a:p>
          <a:p>
            <a:pPr marL="457200" lvl="1" indent="0">
              <a:buNone/>
            </a:pPr>
            <a:r>
              <a:rPr lang="en-US" sz="2800"/>
              <a:t>TEC §26A.001(g) Each school district shall annually submit to the agency a report on grievances filed in the district during the preceding year. The report must include, for each grievance, the resolution of the grievance and any corrective action taken.</a:t>
            </a:r>
          </a:p>
          <a:p>
            <a:pPr marL="457200" lvl="1" indent="0">
              <a:buNone/>
            </a:pPr>
            <a:r>
              <a:rPr lang="en-US" sz="2800"/>
              <a:t>TEC §26A.003(c) A school district shall submit and make accessible to the agency the </a:t>
            </a:r>
            <a:r>
              <a:rPr lang="en-US" sz="2800">
                <a:solidFill>
                  <a:srgbClr val="F47F42"/>
                </a:solidFill>
              </a:rPr>
              <a:t>location on the district’s Internet website </a:t>
            </a:r>
            <a:r>
              <a:rPr lang="en-US" sz="2800"/>
              <a:t>at which the information described by Subsection (a) is available.</a:t>
            </a:r>
          </a:p>
          <a:p>
            <a:pPr marL="457200" lvl="1" indent="0">
              <a:buNone/>
            </a:pPr>
            <a:endParaRPr lang="en-US" sz="2800"/>
          </a:p>
        </p:txBody>
      </p:sp>
      <p:sp>
        <p:nvSpPr>
          <p:cNvPr id="4" name="Slide Number Placeholder 3">
            <a:extLst>
              <a:ext uri="{FF2B5EF4-FFF2-40B4-BE49-F238E27FC236}">
                <a16:creationId xmlns:a16="http://schemas.microsoft.com/office/drawing/2014/main" id="{1495B9C0-96F2-5837-2D85-5C3AC798293F}"/>
              </a:ext>
            </a:extLst>
          </p:cNvPr>
          <p:cNvSpPr>
            <a:spLocks noGrp="1"/>
          </p:cNvSpPr>
          <p:nvPr>
            <p:ph type="sldNum" sz="quarter" idx="4"/>
          </p:nvPr>
        </p:nvSpPr>
        <p:spPr/>
        <p:txBody>
          <a:bodyPr/>
          <a:lstStyle/>
          <a:p>
            <a:fld id="{69C126A4-BD19-47E2-8A0E-0DE1B9D8C925}" type="slidenum">
              <a:rPr lang="en-US" smtClean="0"/>
              <a:pPr/>
              <a:t>34</a:t>
            </a:fld>
            <a:endParaRPr lang="en-US"/>
          </a:p>
        </p:txBody>
      </p:sp>
    </p:spTree>
    <p:extLst>
      <p:ext uri="{BB962C8B-B14F-4D97-AF65-F5344CB8AC3E}">
        <p14:creationId xmlns:p14="http://schemas.microsoft.com/office/powerpoint/2010/main" val="29835180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24E93-098C-8B2E-A863-FE3562353F7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167B224-C3EC-2404-72A9-6043D249A3B9}"/>
              </a:ext>
            </a:extLst>
          </p:cNvPr>
          <p:cNvSpPr>
            <a:spLocks noGrp="1"/>
          </p:cNvSpPr>
          <p:nvPr>
            <p:ph type="title"/>
          </p:nvPr>
        </p:nvSpPr>
        <p:spPr/>
        <p:txBody>
          <a:bodyPr/>
          <a:lstStyle/>
          <a:p>
            <a:r>
              <a:rPr lang="en-US"/>
              <a:t>SB 12 – Section 20 – Possible Impact</a:t>
            </a:r>
          </a:p>
        </p:txBody>
      </p:sp>
      <p:sp>
        <p:nvSpPr>
          <p:cNvPr id="7" name="Content Placeholder 5">
            <a:extLst>
              <a:ext uri="{FF2B5EF4-FFF2-40B4-BE49-F238E27FC236}">
                <a16:creationId xmlns:a16="http://schemas.microsoft.com/office/drawing/2014/main" id="{849540B8-640D-5B62-F395-1D843B26D959}"/>
              </a:ext>
            </a:extLst>
          </p:cNvPr>
          <p:cNvSpPr>
            <a:spLocks noGrp="1"/>
          </p:cNvSpPr>
          <p:nvPr>
            <p:ph idx="1"/>
          </p:nvPr>
        </p:nvSpPr>
        <p:spPr>
          <a:xfrm>
            <a:off x="285468" y="1496253"/>
            <a:ext cx="11544581" cy="2288670"/>
          </a:xfrm>
        </p:spPr>
        <p:txBody>
          <a:bodyPr/>
          <a:lstStyle/>
          <a:p>
            <a:pPr>
              <a:buClr>
                <a:srgbClr val="F47F42"/>
              </a:buClr>
            </a:pPr>
            <a:r>
              <a:rPr lang="en-US" sz="3200">
                <a:solidFill>
                  <a:srgbClr val="F47F42"/>
                </a:solidFill>
              </a:rPr>
              <a:t>SB 12</a:t>
            </a:r>
            <a:endParaRPr lang="en-US" sz="3200"/>
          </a:p>
          <a:p>
            <a:pPr marL="457200" lvl="1" indent="0">
              <a:buClr>
                <a:srgbClr val="F47F42"/>
              </a:buClr>
              <a:buNone/>
            </a:pPr>
            <a:r>
              <a:rPr lang="en-US" sz="2800">
                <a:solidFill>
                  <a:srgbClr val="F47F42"/>
                </a:solidFill>
              </a:rPr>
              <a:t>Texas Student Data System (TSDS): </a:t>
            </a:r>
          </a:p>
          <a:p>
            <a:pPr lvl="1">
              <a:buClr>
                <a:srgbClr val="F47F42"/>
              </a:buClr>
            </a:pPr>
            <a:r>
              <a:rPr lang="en-US" sz="2800"/>
              <a:t>One new data element to collect the district’s Internet website where the grievance policy is posted.  </a:t>
            </a:r>
          </a:p>
        </p:txBody>
      </p:sp>
      <p:sp>
        <p:nvSpPr>
          <p:cNvPr id="8" name="TextBox 7">
            <a:extLst>
              <a:ext uri="{FF2B5EF4-FFF2-40B4-BE49-F238E27FC236}">
                <a16:creationId xmlns:a16="http://schemas.microsoft.com/office/drawing/2014/main" id="{5D0C227C-0BDF-25A7-324B-6052A0435891}"/>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a:t>
            </a:r>
          </a:p>
        </p:txBody>
      </p:sp>
      <p:sp>
        <p:nvSpPr>
          <p:cNvPr id="4" name="Slide Number Placeholder 3">
            <a:extLst>
              <a:ext uri="{FF2B5EF4-FFF2-40B4-BE49-F238E27FC236}">
                <a16:creationId xmlns:a16="http://schemas.microsoft.com/office/drawing/2014/main" id="{C2F1BEDD-C4E5-CD55-1524-08C3C3BDC413}"/>
              </a:ext>
            </a:extLst>
          </p:cNvPr>
          <p:cNvSpPr>
            <a:spLocks noGrp="1"/>
          </p:cNvSpPr>
          <p:nvPr>
            <p:ph type="sldNum" sz="quarter" idx="4"/>
          </p:nvPr>
        </p:nvSpPr>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3065251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A9CB-50B3-9883-ED08-A39B7DC50D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0F530E5-53FA-3139-B6C4-BBB56EBD4575}"/>
              </a:ext>
            </a:extLst>
          </p:cNvPr>
          <p:cNvSpPr>
            <a:spLocks noGrp="1"/>
          </p:cNvSpPr>
          <p:nvPr>
            <p:ph type="ctrTitle"/>
          </p:nvPr>
        </p:nvSpPr>
        <p:spPr>
          <a:xfrm>
            <a:off x="3657612" y="3155852"/>
            <a:ext cx="7882585" cy="823406"/>
          </a:xfrm>
        </p:spPr>
        <p:txBody>
          <a:bodyPr/>
          <a:lstStyle/>
          <a:p>
            <a:r>
              <a:rPr lang="en-US">
                <a:solidFill>
                  <a:srgbClr val="D85632"/>
                </a:solidFill>
              </a:rPr>
              <a:t>2026-2027</a:t>
            </a:r>
            <a:r>
              <a:rPr lang="en-US"/>
              <a:t> Implementation</a:t>
            </a:r>
          </a:p>
        </p:txBody>
      </p:sp>
      <p:sp>
        <p:nvSpPr>
          <p:cNvPr id="7" name="Slide Number Placeholder 6">
            <a:extLst>
              <a:ext uri="{FF2B5EF4-FFF2-40B4-BE49-F238E27FC236}">
                <a16:creationId xmlns:a16="http://schemas.microsoft.com/office/drawing/2014/main" id="{65F29E81-8694-AE3C-2EA8-1B8DD2AA60D6}"/>
              </a:ext>
            </a:extLst>
          </p:cNvPr>
          <p:cNvSpPr>
            <a:spLocks noGrp="1"/>
          </p:cNvSpPr>
          <p:nvPr>
            <p:ph type="sldNum" sz="quarter" idx="4"/>
          </p:nvPr>
        </p:nvSpPr>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14467074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9F7FC-00DA-FE33-D064-5A00B5B2EE9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9987077-BD6F-5940-3D4C-917739B92699}"/>
              </a:ext>
            </a:extLst>
          </p:cNvPr>
          <p:cNvSpPr>
            <a:spLocks noGrp="1"/>
          </p:cNvSpPr>
          <p:nvPr>
            <p:ph type="title"/>
          </p:nvPr>
        </p:nvSpPr>
        <p:spPr/>
        <p:txBody>
          <a:bodyPr/>
          <a:lstStyle/>
          <a:p>
            <a:r>
              <a:rPr lang="en-US"/>
              <a:t>HB 2 – Section 2.18</a:t>
            </a:r>
          </a:p>
        </p:txBody>
      </p:sp>
      <p:sp>
        <p:nvSpPr>
          <p:cNvPr id="6" name="Content Placeholder 5">
            <a:extLst>
              <a:ext uri="{FF2B5EF4-FFF2-40B4-BE49-F238E27FC236}">
                <a16:creationId xmlns:a16="http://schemas.microsoft.com/office/drawing/2014/main" id="{6CB6F5F7-D417-6E06-B254-157D104EF9DD}"/>
              </a:ext>
            </a:extLst>
          </p:cNvPr>
          <p:cNvSpPr>
            <a:spLocks noGrp="1"/>
          </p:cNvSpPr>
          <p:nvPr>
            <p:ph idx="1"/>
          </p:nvPr>
        </p:nvSpPr>
        <p:spPr>
          <a:xfrm>
            <a:off x="285468" y="1496253"/>
            <a:ext cx="11544581" cy="1387624"/>
          </a:xfrm>
        </p:spPr>
        <p:txBody>
          <a:bodyPr/>
          <a:lstStyle/>
          <a:p>
            <a:pPr marR="0" fontAlgn="base"/>
            <a:r>
              <a:rPr lang="en-US">
                <a:solidFill>
                  <a:srgbClr val="F47F42"/>
                </a:solidFill>
              </a:rPr>
              <a:t>HB 2 Section 2.18 </a:t>
            </a:r>
            <a:r>
              <a:rPr lang="en-US" sz="2800">
                <a:effectLst/>
                <a:latin typeface="Aptos" panose="020B0004020202020204" pitchFamily="34" charset="0"/>
                <a:ea typeface="Times New Roman" panose="02020603050405020304" pitchFamily="18" charset="0"/>
                <a:cs typeface="Segoe UI" panose="020B0502040204020203" pitchFamily="34" charset="0"/>
              </a:rPr>
              <a:t>amends Subchapter D, Chapter 48, Education Code, by adding TEC </a:t>
            </a:r>
            <a:r>
              <a:rPr lang="en-US"/>
              <a:t>§</a:t>
            </a:r>
            <a:r>
              <a:rPr lang="en-US" sz="2800">
                <a:effectLst/>
                <a:latin typeface="Aptos" panose="020B0004020202020204" pitchFamily="34" charset="0"/>
                <a:ea typeface="Times New Roman" panose="02020603050405020304" pitchFamily="18" charset="0"/>
                <a:cs typeface="Segoe UI" panose="020B0502040204020203" pitchFamily="34" charset="0"/>
              </a:rPr>
              <a:t>48.157, which outlines an allotment for school districts based on the education preparation program in the school district.</a:t>
            </a:r>
            <a:r>
              <a:rPr lang="en-US" sz="2800">
                <a:effectLst/>
                <a:latin typeface="Arial" panose="020B0604020202020204" pitchFamily="34" charset="0"/>
                <a:ea typeface="Times New Roman" panose="02020603050405020304" pitchFamily="18" charset="0"/>
                <a:cs typeface="Arial" panose="020B0604020202020204" pitchFamily="34" charset="0"/>
              </a:rPr>
              <a:t> </a:t>
            </a:r>
            <a:r>
              <a:rPr lang="en-US" sz="2800">
                <a:effectLst/>
                <a:latin typeface="Aptos" panose="020B0004020202020204" pitchFamily="34" charset="0"/>
                <a:ea typeface="Times New Roman" panose="02020603050405020304" pitchFamily="18" charset="0"/>
                <a:cs typeface="Segoe UI" panose="020B0502040204020203" pitchFamily="34" charset="0"/>
              </a:rPr>
              <a:t> </a:t>
            </a:r>
            <a:endParaRPr lang="en-US" sz="2800">
              <a:effectLst/>
              <a:latin typeface="Aptos" panose="020B0004020202020204" pitchFamily="34" charset="0"/>
              <a:ea typeface="Calibri" panose="020F0502020204030204" pitchFamily="34" charset="0"/>
              <a:cs typeface="Arial" panose="020B0604020202020204" pitchFamily="34" charset="0"/>
            </a:endParaRPr>
          </a:p>
          <a:p>
            <a:endParaRPr lang="en-US"/>
          </a:p>
        </p:txBody>
      </p:sp>
      <p:sp>
        <p:nvSpPr>
          <p:cNvPr id="2" name="TextBox 1">
            <a:extLst>
              <a:ext uri="{FF2B5EF4-FFF2-40B4-BE49-F238E27FC236}">
                <a16:creationId xmlns:a16="http://schemas.microsoft.com/office/drawing/2014/main" id="{46A862BB-357D-0773-B169-A9ED5A15520D}"/>
              </a:ext>
            </a:extLst>
          </p:cNvPr>
          <p:cNvSpPr txBox="1"/>
          <p:nvPr/>
        </p:nvSpPr>
        <p:spPr>
          <a:xfrm>
            <a:off x="369779" y="426854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data regarding an LEA’s participation in identified Education Preparation Program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FBF45BA-91DA-E6E8-016D-DED6E50ED4C2}"/>
              </a:ext>
            </a:extLst>
          </p:cNvPr>
          <p:cNvSpPr>
            <a:spLocks noGrp="1"/>
          </p:cNvSpPr>
          <p:nvPr>
            <p:ph type="sldNum" sz="quarter" idx="4"/>
          </p:nvPr>
        </p:nvSpPr>
        <p:spPr/>
        <p:txBody>
          <a:bodyPr/>
          <a:lstStyle/>
          <a:p>
            <a:fld id="{69C126A4-BD19-47E2-8A0E-0DE1B9D8C925}" type="slidenum">
              <a:rPr lang="en-US" smtClean="0"/>
              <a:pPr/>
              <a:t>37</a:t>
            </a:fld>
            <a:endParaRPr lang="en-US"/>
          </a:p>
        </p:txBody>
      </p:sp>
    </p:spTree>
    <p:extLst>
      <p:ext uri="{BB962C8B-B14F-4D97-AF65-F5344CB8AC3E}">
        <p14:creationId xmlns:p14="http://schemas.microsoft.com/office/powerpoint/2010/main" val="31996525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38D08-1E78-9660-3D8D-06F6F816BB8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837162E-98EE-88D8-9307-7A9299543D3A}"/>
              </a:ext>
            </a:extLst>
          </p:cNvPr>
          <p:cNvSpPr>
            <a:spLocks noGrp="1"/>
          </p:cNvSpPr>
          <p:nvPr>
            <p:ph type="title"/>
          </p:nvPr>
        </p:nvSpPr>
        <p:spPr/>
        <p:txBody>
          <a:bodyPr/>
          <a:lstStyle/>
          <a:p>
            <a:r>
              <a:rPr lang="en-US"/>
              <a:t>HB 2 – Section 3.08</a:t>
            </a:r>
          </a:p>
        </p:txBody>
      </p:sp>
      <p:sp>
        <p:nvSpPr>
          <p:cNvPr id="6" name="Content Placeholder 5">
            <a:extLst>
              <a:ext uri="{FF2B5EF4-FFF2-40B4-BE49-F238E27FC236}">
                <a16:creationId xmlns:a16="http://schemas.microsoft.com/office/drawing/2014/main" id="{5A88B385-5767-C8F8-BFE8-A1B7F290C46C}"/>
              </a:ext>
            </a:extLst>
          </p:cNvPr>
          <p:cNvSpPr>
            <a:spLocks noGrp="1"/>
          </p:cNvSpPr>
          <p:nvPr>
            <p:ph idx="1"/>
          </p:nvPr>
        </p:nvSpPr>
        <p:spPr>
          <a:xfrm>
            <a:off x="285468" y="1496253"/>
            <a:ext cx="11544581" cy="2527107"/>
          </a:xfrm>
        </p:spPr>
        <p:txBody>
          <a:bodyPr/>
          <a:lstStyle/>
          <a:p>
            <a:r>
              <a:rPr lang="en-US">
                <a:solidFill>
                  <a:srgbClr val="F47F42"/>
                </a:solidFill>
              </a:rPr>
              <a:t>HB 2 Section 3.08</a:t>
            </a:r>
            <a:r>
              <a:rPr lang="en-US"/>
              <a:t> amends </a:t>
            </a:r>
            <a:r>
              <a:rPr lang="en-US" sz="2800">
                <a:effectLst/>
                <a:latin typeface="Aptos" panose="020B0004020202020204" pitchFamily="34" charset="0"/>
                <a:ea typeface="Calibri" panose="020F0502020204030204" pitchFamily="34" charset="0"/>
                <a:cs typeface="Arial" panose="020B0604020202020204" pitchFamily="34" charset="0"/>
              </a:rPr>
              <a:t>Subchapter J, Chapter 21, Education Code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21.468, which adds a collection of data from school districts and open-enrollment charter schools to address teacher retention and recruitment, including the classifications, grade levels, subject areas, duration, and other relevant information regarding vacant teaching positions at districts and schools. </a:t>
            </a:r>
            <a:endParaRPr lang="en-US"/>
          </a:p>
        </p:txBody>
      </p:sp>
      <p:sp>
        <p:nvSpPr>
          <p:cNvPr id="2" name="TextBox 1">
            <a:extLst>
              <a:ext uri="{FF2B5EF4-FFF2-40B4-BE49-F238E27FC236}">
                <a16:creationId xmlns:a16="http://schemas.microsoft.com/office/drawing/2014/main" id="{6E9D4E72-AD47-C9CA-E986-204801FA8D92}"/>
              </a:ext>
            </a:extLst>
          </p:cNvPr>
          <p:cNvSpPr txBox="1"/>
          <p:nvPr/>
        </p:nvSpPr>
        <p:spPr>
          <a:xfrm>
            <a:off x="369779" y="484102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collection of data to address teacher retention and recruitment. </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579305BA-6111-71BA-6CF8-1B5B1200B88A}"/>
              </a:ext>
            </a:extLst>
          </p:cNvPr>
          <p:cNvSpPr>
            <a:spLocks noGrp="1"/>
          </p:cNvSpPr>
          <p:nvPr>
            <p:ph type="sldNum" sz="quarter" idx="4"/>
          </p:nvPr>
        </p:nvSpPr>
        <p:spPr/>
        <p:txBody>
          <a:bodyPr/>
          <a:lstStyle/>
          <a:p>
            <a:fld id="{69C126A4-BD19-47E2-8A0E-0DE1B9D8C925}" type="slidenum">
              <a:rPr lang="en-US" smtClean="0"/>
              <a:pPr/>
              <a:t>38</a:t>
            </a:fld>
            <a:endParaRPr lang="en-US"/>
          </a:p>
        </p:txBody>
      </p:sp>
    </p:spTree>
    <p:extLst>
      <p:ext uri="{BB962C8B-B14F-4D97-AF65-F5344CB8AC3E}">
        <p14:creationId xmlns:p14="http://schemas.microsoft.com/office/powerpoint/2010/main" val="3866467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9B02A-5E7E-0061-1E02-29E11A8751C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10A67EE-92BF-9C59-B22F-5C6C9D654663}"/>
              </a:ext>
            </a:extLst>
          </p:cNvPr>
          <p:cNvSpPr>
            <a:spLocks noGrp="1"/>
          </p:cNvSpPr>
          <p:nvPr>
            <p:ph type="title"/>
          </p:nvPr>
        </p:nvSpPr>
        <p:spPr/>
        <p:txBody>
          <a:bodyPr/>
          <a:lstStyle/>
          <a:p>
            <a:r>
              <a:rPr lang="en-US"/>
              <a:t>HB 2 – Section 5.10</a:t>
            </a:r>
          </a:p>
        </p:txBody>
      </p:sp>
      <p:sp>
        <p:nvSpPr>
          <p:cNvPr id="6" name="Content Placeholder 5">
            <a:extLst>
              <a:ext uri="{FF2B5EF4-FFF2-40B4-BE49-F238E27FC236}">
                <a16:creationId xmlns:a16="http://schemas.microsoft.com/office/drawing/2014/main" id="{A6B9CD36-8193-C52C-78B5-B517EE0FCABC}"/>
              </a:ext>
            </a:extLst>
          </p:cNvPr>
          <p:cNvSpPr>
            <a:spLocks noGrp="1"/>
          </p:cNvSpPr>
          <p:nvPr>
            <p:ph idx="1"/>
          </p:nvPr>
        </p:nvSpPr>
        <p:spPr>
          <a:xfrm>
            <a:off x="285468" y="1496253"/>
            <a:ext cx="11544581" cy="4065175"/>
          </a:xfrm>
        </p:spPr>
        <p:txBody>
          <a:bodyPr/>
          <a:lstStyle/>
          <a:p>
            <a:r>
              <a:rPr lang="en-US" sz="2400">
                <a:solidFill>
                  <a:srgbClr val="F47F42"/>
                </a:solidFill>
              </a:rPr>
              <a:t>HB 2 Section 5.10 </a:t>
            </a:r>
            <a:r>
              <a:rPr lang="en-US" sz="2400"/>
              <a:t>amends Subchapter A, Chapter 28, Education Code by adding TEC §§28.0063 and 28.0064, which add early literacy and numeracy progress monitoring instruments.  </a:t>
            </a:r>
          </a:p>
          <a:p>
            <a:pPr marL="457200" lvl="1" indent="0">
              <a:buNone/>
            </a:pPr>
            <a:r>
              <a:rPr lang="en-US"/>
              <a:t>(h) The superintendent of each school district shall: (1) report to the commissioner and the board of trustees of the district at a public meeting of the board the results of the reading or mathematics instruments.  </a:t>
            </a:r>
          </a:p>
          <a:p>
            <a:pPr marL="457200" lvl="1" indent="0">
              <a:buNone/>
            </a:pPr>
            <a:r>
              <a:rPr lang="en-US"/>
              <a:t>TEC §28.0064: If a student’s results on two consecutively administered reading instruments administered under TEC §28.0063 indicate the student is at risk, as determined by the agency, of not achieving satisfactory performance in foundational literacy, a school district shall, as soon as practicable following the receipt of the student’s results, provide reading intervention. </a:t>
            </a:r>
          </a:p>
          <a:p>
            <a:endParaRPr lang="en-US" sz="2400"/>
          </a:p>
        </p:txBody>
      </p:sp>
      <p:sp>
        <p:nvSpPr>
          <p:cNvPr id="2" name="TextBox 1">
            <a:extLst>
              <a:ext uri="{FF2B5EF4-FFF2-40B4-BE49-F238E27FC236}">
                <a16:creationId xmlns:a16="http://schemas.microsoft.com/office/drawing/2014/main" id="{412F3300-2E8E-B0C6-467C-921682AEE8A1}"/>
              </a:ext>
            </a:extLst>
          </p:cNvPr>
          <p:cNvSpPr txBox="1"/>
          <p:nvPr/>
        </p:nvSpPr>
        <p:spPr>
          <a:xfrm>
            <a:off x="377607" y="5665653"/>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expand the Early Childhood Data System Collection to include additional grade-level assessments.</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FA025F8-E1CD-DA35-DF89-BDA263BCB035}"/>
              </a:ext>
            </a:extLst>
          </p:cNvPr>
          <p:cNvSpPr>
            <a:spLocks noGrp="1"/>
          </p:cNvSpPr>
          <p:nvPr>
            <p:ph type="sldNum" sz="quarter" idx="4"/>
          </p:nvPr>
        </p:nvSpPr>
        <p:spPr/>
        <p:txBody>
          <a:bodyPr/>
          <a:lstStyle/>
          <a:p>
            <a:fld id="{69C126A4-BD19-47E2-8A0E-0DE1B9D8C925}" type="slidenum">
              <a:rPr lang="en-US" smtClean="0"/>
              <a:pPr/>
              <a:t>39</a:t>
            </a:fld>
            <a:endParaRPr lang="en-US"/>
          </a:p>
        </p:txBody>
      </p:sp>
    </p:spTree>
    <p:extLst>
      <p:ext uri="{BB962C8B-B14F-4D97-AF65-F5344CB8AC3E}">
        <p14:creationId xmlns:p14="http://schemas.microsoft.com/office/powerpoint/2010/main" val="2084627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69B1E-B02E-5A13-4190-8DE70B8B83D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CCCD41D-0518-EE58-2554-388556FF77B7}"/>
              </a:ext>
            </a:extLst>
          </p:cNvPr>
          <p:cNvSpPr>
            <a:spLocks noGrp="1"/>
          </p:cNvSpPr>
          <p:nvPr>
            <p:ph type="ctrTitle"/>
          </p:nvPr>
        </p:nvSpPr>
        <p:spPr/>
        <p:txBody>
          <a:bodyPr/>
          <a:lstStyle/>
          <a:p>
            <a:r>
              <a:rPr lang="en-US"/>
              <a:t>2025-2026 Agenda, continued</a:t>
            </a:r>
          </a:p>
        </p:txBody>
      </p:sp>
      <p:sp>
        <p:nvSpPr>
          <p:cNvPr id="3" name="Slide Number Placeholder 2">
            <a:extLst>
              <a:ext uri="{FF2B5EF4-FFF2-40B4-BE49-F238E27FC236}">
                <a16:creationId xmlns:a16="http://schemas.microsoft.com/office/drawing/2014/main" id="{604C89DA-65C1-D2DF-E507-1623D4111156}"/>
              </a:ext>
            </a:extLst>
          </p:cNvPr>
          <p:cNvSpPr>
            <a:spLocks noGrp="1"/>
          </p:cNvSpPr>
          <p:nvPr>
            <p:ph type="sldNum" sz="quarter" idx="4"/>
          </p:nvPr>
        </p:nvSpPr>
        <p:spPr/>
        <p:txBody>
          <a:bodyPr/>
          <a:lstStyle/>
          <a:p>
            <a:fld id="{69C126A4-BD19-47E2-8A0E-0DE1B9D8C925}" type="slidenum">
              <a:rPr lang="en-US" smtClean="0"/>
              <a:pPr/>
              <a:t>4</a:t>
            </a:fld>
            <a:endParaRPr lang="en-US"/>
          </a:p>
        </p:txBody>
      </p:sp>
      <p:sp>
        <p:nvSpPr>
          <p:cNvPr id="6" name="TextBox 5">
            <a:extLst>
              <a:ext uri="{FF2B5EF4-FFF2-40B4-BE49-F238E27FC236}">
                <a16:creationId xmlns:a16="http://schemas.microsoft.com/office/drawing/2014/main" id="{9B2D2275-2892-1AC9-2664-A69D91657ABF}"/>
              </a:ext>
            </a:extLst>
          </p:cNvPr>
          <p:cNvSpPr txBox="1"/>
          <p:nvPr/>
        </p:nvSpPr>
        <p:spPr>
          <a:xfrm>
            <a:off x="2165041" y="1643899"/>
            <a:ext cx="9399422" cy="4893647"/>
          </a:xfrm>
          <a:prstGeom prst="rect">
            <a:avLst/>
          </a:prstGeom>
          <a:noFill/>
        </p:spPr>
        <p:txBody>
          <a:bodyPr wrap="square">
            <a:spAutoFit/>
          </a:bodyPr>
          <a:lstStyle/>
          <a:p>
            <a:pPr>
              <a:spcAft>
                <a:spcPts val="1200"/>
              </a:spcAft>
              <a:buClr>
                <a:srgbClr val="D85632"/>
              </a:buClr>
            </a:pPr>
            <a:r>
              <a:rPr lang="en-US" sz="2800" b="1">
                <a:solidFill>
                  <a:srgbClr val="D85632"/>
                </a:solidFill>
                <a:latin typeface="Aptos" panose="020B0004020202020204" pitchFamily="34" charset="0"/>
              </a:rPr>
              <a:t>2025-2026</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HB 120</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6.05/5 – JROTC Moves to CTE Course </a:t>
            </a:r>
            <a:r>
              <a:rPr lang="en-US">
                <a:solidFill>
                  <a:srgbClr val="D85632"/>
                </a:solidFill>
                <a:latin typeface="Aptos" panose="020B0004020202020204" pitchFamily="34" charset="0"/>
              </a:rPr>
              <a:t>*Revised Descriptor Table*</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6.21/21 – 2nd IBC Exam, Fingerprinting, and Criminal History Reimbursement </a:t>
            </a:r>
            <a:r>
              <a:rPr lang="en-US">
                <a:solidFill>
                  <a:srgbClr val="D85632"/>
                </a:solidFill>
                <a:latin typeface="Aptos" panose="020B0004020202020204" pitchFamily="34" charset="0"/>
              </a:rPr>
              <a:t>*New and Revised Data Element*</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2185</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7.04 and 7.14/Sections 1 and 2 – Emergent Bilingual Changes </a:t>
            </a:r>
            <a:r>
              <a:rPr lang="en-US">
                <a:solidFill>
                  <a:srgbClr val="D85632"/>
                </a:solidFill>
                <a:latin typeface="Aptos" panose="020B0004020202020204" pitchFamily="34" charset="0"/>
              </a:rPr>
              <a:t>*Data Element Revision, New Descriptor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6</a:t>
            </a:r>
            <a:r>
              <a:rPr lang="en-US" sz="2000">
                <a:solidFill>
                  <a:srgbClr val="0D6CB9"/>
                </a:solidFill>
                <a:latin typeface="Aptos" panose="020B0004020202020204" pitchFamily="34" charset="0"/>
              </a:rPr>
              <a:t> – Discipline Changes </a:t>
            </a:r>
            <a:r>
              <a:rPr lang="en-US">
                <a:solidFill>
                  <a:srgbClr val="D85632"/>
                </a:solidFill>
                <a:latin typeface="Aptos" panose="020B0004020202020204" pitchFamily="34" charset="0"/>
              </a:rPr>
              <a:t>*Data Element and Descriptor Table Change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569</a:t>
            </a:r>
            <a:r>
              <a:rPr lang="en-US" sz="2000">
                <a:solidFill>
                  <a:srgbClr val="0D6CB9"/>
                </a:solidFill>
                <a:latin typeface="Aptos" panose="020B0004020202020204" pitchFamily="34" charset="0"/>
              </a:rPr>
              <a:t> – Virtual Education Changes </a:t>
            </a:r>
            <a:r>
              <a:rPr lang="en-US">
                <a:solidFill>
                  <a:srgbClr val="D85632"/>
                </a:solidFill>
                <a:latin typeface="Aptos" panose="020B0004020202020204" pitchFamily="34" charset="0"/>
              </a:rPr>
              <a:t>*New and Revised Data Elements, New and Revised Descriptor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991</a:t>
            </a:r>
            <a:r>
              <a:rPr lang="en-US" sz="2000">
                <a:solidFill>
                  <a:srgbClr val="0D6CB9"/>
                </a:solidFill>
                <a:latin typeface="Aptos" panose="020B0004020202020204" pitchFamily="34" charset="0"/>
              </a:rPr>
              <a:t> – Chronically Absent Students </a:t>
            </a:r>
            <a:r>
              <a:rPr lang="en-US">
                <a:solidFill>
                  <a:srgbClr val="D85632"/>
                </a:solidFill>
                <a:latin typeface="Aptos" panose="020B0004020202020204" pitchFamily="34" charset="0"/>
              </a:rPr>
              <a:t>*New and Revised Data Element*</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12 – Grievance Collection (Part 1)</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20 – Collect LEA web address with Grievance Information </a:t>
            </a:r>
            <a:r>
              <a:rPr lang="en-US">
                <a:solidFill>
                  <a:srgbClr val="D85632"/>
                </a:solidFill>
                <a:latin typeface="Aptos" panose="020B0004020202020204" pitchFamily="34" charset="0"/>
              </a:rPr>
              <a:t>*New Data Element*</a:t>
            </a:r>
          </a:p>
        </p:txBody>
      </p:sp>
    </p:spTree>
    <p:extLst>
      <p:ext uri="{BB962C8B-B14F-4D97-AF65-F5344CB8AC3E}">
        <p14:creationId xmlns:p14="http://schemas.microsoft.com/office/powerpoint/2010/main" val="36200401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3854C-8BF7-C7AB-59A2-0C12C37C0E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3AAC17C-F95F-E355-5D36-F80706B14F01}"/>
              </a:ext>
            </a:extLst>
          </p:cNvPr>
          <p:cNvSpPr>
            <a:spLocks noGrp="1"/>
          </p:cNvSpPr>
          <p:nvPr>
            <p:ph type="title"/>
          </p:nvPr>
        </p:nvSpPr>
        <p:spPr/>
        <p:txBody>
          <a:bodyPr/>
          <a:lstStyle/>
          <a:p>
            <a:r>
              <a:rPr lang="en-US"/>
              <a:t>HB 2 – Section 5.11</a:t>
            </a:r>
          </a:p>
        </p:txBody>
      </p:sp>
      <p:sp>
        <p:nvSpPr>
          <p:cNvPr id="6" name="Content Placeholder 5">
            <a:extLst>
              <a:ext uri="{FF2B5EF4-FFF2-40B4-BE49-F238E27FC236}">
                <a16:creationId xmlns:a16="http://schemas.microsoft.com/office/drawing/2014/main" id="{2DD62FAE-E8AC-8CB2-98C3-C84E9BB94696}"/>
              </a:ext>
            </a:extLst>
          </p:cNvPr>
          <p:cNvSpPr>
            <a:spLocks noGrp="1"/>
          </p:cNvSpPr>
          <p:nvPr>
            <p:ph idx="1"/>
          </p:nvPr>
        </p:nvSpPr>
        <p:spPr>
          <a:xfrm>
            <a:off x="285468" y="1496253"/>
            <a:ext cx="11544581" cy="3599729"/>
          </a:xfrm>
        </p:spPr>
        <p:txBody>
          <a:bodyPr/>
          <a:lstStyle/>
          <a:p>
            <a:r>
              <a:rPr lang="en-US">
                <a:solidFill>
                  <a:srgbClr val="F47F42"/>
                </a:solidFill>
              </a:rPr>
              <a:t>HB 2 Section 5.11</a:t>
            </a:r>
            <a:r>
              <a:rPr lang="en-US" sz="2800">
                <a:solidFill>
                  <a:srgbClr val="F47F42"/>
                </a:solidFill>
                <a:effectLst/>
                <a:latin typeface="Aptos" panose="020B0004020202020204" pitchFamily="34" charset="0"/>
                <a:ea typeface="Calibri" panose="020F0502020204030204" pitchFamily="34" charset="0"/>
                <a:cs typeface="Arial" panose="020B0604020202020204" pitchFamily="34" charset="0"/>
              </a:rPr>
              <a:t> </a:t>
            </a:r>
            <a:r>
              <a:rPr lang="en-US" sz="2800">
                <a:effectLst/>
                <a:latin typeface="Aptos" panose="020B0004020202020204" pitchFamily="34" charset="0"/>
                <a:ea typeface="Calibri" panose="020F0502020204030204" pitchFamily="34" charset="0"/>
                <a:cs typeface="Arial" panose="020B0604020202020204" pitchFamily="34" charset="0"/>
              </a:rPr>
              <a:t>adds TEC §28.02111 First Through Third Grade Supplementary Supports. </a:t>
            </a:r>
          </a:p>
          <a:p>
            <a:pPr marL="457200" lvl="1">
              <a:buNone/>
            </a:pPr>
            <a:r>
              <a:rPr lang="en-US" sz="2800">
                <a:effectLst/>
                <a:latin typeface="Aptos" panose="020B0004020202020204" pitchFamily="34" charset="0"/>
                <a:ea typeface="Calibri" panose="020F0502020204030204" pitchFamily="34" charset="0"/>
                <a:cs typeface="Arial" panose="020B0604020202020204" pitchFamily="34" charset="0"/>
              </a:rPr>
              <a:t>(b) The agency shall approve as a provider of tutoring services under this section a classroom teacher employed by a school district or open-enrollment charter school who:</a:t>
            </a:r>
          </a:p>
          <a:p>
            <a:pPr marL="685800" lvl="2" indent="0">
              <a:buNone/>
            </a:pPr>
            <a:r>
              <a:rPr lang="en-US" sz="2800">
                <a:effectLst/>
                <a:latin typeface="Aptos" panose="020B0004020202020204" pitchFamily="34" charset="0"/>
                <a:ea typeface="Calibri" panose="020F0502020204030204" pitchFamily="34" charset="0"/>
                <a:cs typeface="Arial" panose="020B0604020202020204" pitchFamily="34" charset="0"/>
              </a:rPr>
              <a:t>(1) holds a current designation under TEC </a:t>
            </a:r>
            <a:r>
              <a:rPr lang="en-US" sz="2800"/>
              <a:t>§</a:t>
            </a:r>
            <a:r>
              <a:rPr lang="en-US" sz="2800">
                <a:effectLst/>
                <a:latin typeface="Aptos" panose="020B0004020202020204" pitchFamily="34" charset="0"/>
                <a:ea typeface="Calibri" panose="020F0502020204030204" pitchFamily="34" charset="0"/>
                <a:cs typeface="Arial" panose="020B0604020202020204" pitchFamily="34" charset="0"/>
              </a:rPr>
              <a:t>21.3521; and</a:t>
            </a:r>
          </a:p>
          <a:p>
            <a:pPr marL="685800" lvl="2" indent="0">
              <a:buNone/>
            </a:pPr>
            <a:r>
              <a:rPr lang="en-US" sz="2800">
                <a:effectLst/>
                <a:latin typeface="Aptos" panose="020B0004020202020204" pitchFamily="34" charset="0"/>
                <a:ea typeface="Calibri" panose="020F0502020204030204" pitchFamily="34" charset="0"/>
                <a:cs typeface="Arial" panose="020B0604020202020204" pitchFamily="34" charset="0"/>
              </a:rPr>
              <a:t>(2) submits the teacher’s name to the agency to offer tutoring services designated to help improve student proficiency in reading.</a:t>
            </a:r>
          </a:p>
          <a:p>
            <a:endParaRPr lang="en-US"/>
          </a:p>
        </p:txBody>
      </p:sp>
      <p:sp>
        <p:nvSpPr>
          <p:cNvPr id="2" name="TextBox 1">
            <a:extLst>
              <a:ext uri="{FF2B5EF4-FFF2-40B4-BE49-F238E27FC236}">
                <a16:creationId xmlns:a16="http://schemas.microsoft.com/office/drawing/2014/main" id="{365409AA-F68A-4301-6859-4BAB9157A8F6}"/>
              </a:ext>
            </a:extLst>
          </p:cNvPr>
          <p:cNvSpPr txBox="1"/>
          <p:nvPr/>
        </p:nvSpPr>
        <p:spPr>
          <a:xfrm>
            <a:off x="233791" y="5412375"/>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information on which teacher will offer tutoring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36BF354-D473-B9C6-808D-E4B82BE6D669}"/>
              </a:ext>
            </a:extLst>
          </p:cNvPr>
          <p:cNvSpPr>
            <a:spLocks noGrp="1"/>
          </p:cNvSpPr>
          <p:nvPr>
            <p:ph type="sldNum" sz="quarter" idx="4"/>
          </p:nvPr>
        </p:nvSpPr>
        <p:spPr/>
        <p:txBody>
          <a:bodyPr/>
          <a:lstStyle/>
          <a:p>
            <a:fld id="{69C126A4-BD19-47E2-8A0E-0DE1B9D8C925}" type="slidenum">
              <a:rPr lang="en-US" smtClean="0"/>
              <a:pPr/>
              <a:t>40</a:t>
            </a:fld>
            <a:endParaRPr lang="en-US"/>
          </a:p>
        </p:txBody>
      </p:sp>
    </p:spTree>
    <p:extLst>
      <p:ext uri="{BB962C8B-B14F-4D97-AF65-F5344CB8AC3E}">
        <p14:creationId xmlns:p14="http://schemas.microsoft.com/office/powerpoint/2010/main" val="6147248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C58A0-4B2E-E898-334A-745F0FC66C3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68EC51A-D106-037F-772B-36B6E24FBAEA}"/>
              </a:ext>
            </a:extLst>
          </p:cNvPr>
          <p:cNvSpPr>
            <a:spLocks noGrp="1"/>
          </p:cNvSpPr>
          <p:nvPr>
            <p:ph type="title"/>
          </p:nvPr>
        </p:nvSpPr>
        <p:spPr/>
        <p:txBody>
          <a:bodyPr/>
          <a:lstStyle/>
          <a:p>
            <a:r>
              <a:rPr lang="en-US"/>
              <a:t>HB 2 – Section 5.27</a:t>
            </a:r>
          </a:p>
        </p:txBody>
      </p:sp>
      <p:sp>
        <p:nvSpPr>
          <p:cNvPr id="6" name="Content Placeholder 5">
            <a:extLst>
              <a:ext uri="{FF2B5EF4-FFF2-40B4-BE49-F238E27FC236}">
                <a16:creationId xmlns:a16="http://schemas.microsoft.com/office/drawing/2014/main" id="{90F5CD76-A7DC-A623-2367-B1FF3F3C8340}"/>
              </a:ext>
            </a:extLst>
          </p:cNvPr>
          <p:cNvSpPr>
            <a:spLocks noGrp="1"/>
          </p:cNvSpPr>
          <p:nvPr>
            <p:ph idx="1"/>
          </p:nvPr>
        </p:nvSpPr>
        <p:spPr/>
        <p:txBody>
          <a:bodyPr/>
          <a:lstStyle/>
          <a:p>
            <a:r>
              <a:rPr lang="en-US">
                <a:solidFill>
                  <a:srgbClr val="F47F42"/>
                </a:solidFill>
              </a:rPr>
              <a:t>HB 2 Section 5.27</a:t>
            </a:r>
            <a:r>
              <a:rPr lang="en-US" sz="2800">
                <a:effectLst/>
                <a:latin typeface="Aptos" panose="020B0004020202020204" pitchFamily="34" charset="0"/>
                <a:ea typeface="Calibri" panose="020F0502020204030204" pitchFamily="34" charset="0"/>
                <a:cs typeface="Arial" panose="020B0604020202020204" pitchFamily="34" charset="0"/>
              </a:rPr>
              <a:t> amends Subchapter C, Chapter 48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22. The Early Literacy Intervention Allotment </a:t>
            </a:r>
            <a:r>
              <a:rPr lang="en-US">
                <a:ea typeface="Calibri" panose="020F0502020204030204" pitchFamily="34" charset="0"/>
                <a:cs typeface="Arial" panose="020B0604020202020204" pitchFamily="34" charset="0"/>
              </a:rPr>
              <a:t>provides each school district with $250, or a greater amount by appropriation, </a:t>
            </a:r>
            <a:r>
              <a:rPr lang="en-US" sz="2800">
                <a:effectLst/>
                <a:latin typeface="Aptos" panose="020B0004020202020204" pitchFamily="34" charset="0"/>
                <a:ea typeface="Calibri" panose="020F0502020204030204" pitchFamily="34" charset="0"/>
                <a:cs typeface="Arial" panose="020B0604020202020204" pitchFamily="34" charset="0"/>
              </a:rPr>
              <a:t>for each student receiving a reading intervention that meets the standards of implementation under TEC §28.0064.</a:t>
            </a:r>
            <a:endParaRPr lang="en-US"/>
          </a:p>
        </p:txBody>
      </p:sp>
      <p:sp>
        <p:nvSpPr>
          <p:cNvPr id="2" name="TextBox 1">
            <a:extLst>
              <a:ext uri="{FF2B5EF4-FFF2-40B4-BE49-F238E27FC236}">
                <a16:creationId xmlns:a16="http://schemas.microsoft.com/office/drawing/2014/main" id="{7AF7BB46-0C87-3419-7460-029E31796D61}"/>
              </a:ext>
            </a:extLst>
          </p:cNvPr>
          <p:cNvSpPr txBox="1"/>
          <p:nvPr/>
        </p:nvSpPr>
        <p:spPr>
          <a:xfrm>
            <a:off x="369779" y="4268547"/>
            <a:ext cx="11452442" cy="482633"/>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which students receive reading intervention.</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EFC0008-DD0E-0324-7F52-DC7AC76D00C1}"/>
              </a:ext>
            </a:extLst>
          </p:cNvPr>
          <p:cNvSpPr>
            <a:spLocks noGrp="1"/>
          </p:cNvSpPr>
          <p:nvPr>
            <p:ph type="sldNum" sz="quarter" idx="4"/>
          </p:nvPr>
        </p:nvSpPr>
        <p:spPr/>
        <p:txBody>
          <a:bodyPr/>
          <a:lstStyle/>
          <a:p>
            <a:fld id="{69C126A4-BD19-47E2-8A0E-0DE1B9D8C925}" type="slidenum">
              <a:rPr lang="en-US" smtClean="0"/>
              <a:pPr/>
              <a:t>41</a:t>
            </a:fld>
            <a:endParaRPr lang="en-US"/>
          </a:p>
        </p:txBody>
      </p:sp>
    </p:spTree>
    <p:extLst>
      <p:ext uri="{BB962C8B-B14F-4D97-AF65-F5344CB8AC3E}">
        <p14:creationId xmlns:p14="http://schemas.microsoft.com/office/powerpoint/2010/main" val="146296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9839C-3F25-5C59-F2FF-61C071E62C2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866BF10-5344-BB94-ACA2-60155B6E1F26}"/>
              </a:ext>
            </a:extLst>
          </p:cNvPr>
          <p:cNvSpPr>
            <a:spLocks noGrp="1"/>
          </p:cNvSpPr>
          <p:nvPr>
            <p:ph type="title"/>
          </p:nvPr>
        </p:nvSpPr>
        <p:spPr/>
        <p:txBody>
          <a:bodyPr/>
          <a:lstStyle/>
          <a:p>
            <a:r>
              <a:rPr lang="en-US"/>
              <a:t>HB 2 – Section 4.22/SB 568 – Section 22</a:t>
            </a:r>
          </a:p>
        </p:txBody>
      </p:sp>
      <p:sp>
        <p:nvSpPr>
          <p:cNvPr id="6" name="Content Placeholder 5">
            <a:extLst>
              <a:ext uri="{FF2B5EF4-FFF2-40B4-BE49-F238E27FC236}">
                <a16:creationId xmlns:a16="http://schemas.microsoft.com/office/drawing/2014/main" id="{C9A95BAB-613E-1CC5-DBC8-E93CB9E53B70}"/>
              </a:ext>
            </a:extLst>
          </p:cNvPr>
          <p:cNvSpPr>
            <a:spLocks noGrp="1"/>
          </p:cNvSpPr>
          <p:nvPr>
            <p:ph idx="1"/>
          </p:nvPr>
        </p:nvSpPr>
        <p:spPr>
          <a:xfrm>
            <a:off x="285468" y="1496253"/>
            <a:ext cx="11544581" cy="2549099"/>
          </a:xfrm>
        </p:spPr>
        <p:txBody>
          <a:bodyPr/>
          <a:lstStyle/>
          <a:p>
            <a:pPr marR="0"/>
            <a:r>
              <a:rPr lang="en-US">
                <a:solidFill>
                  <a:srgbClr val="F47F42"/>
                </a:solidFill>
              </a:rPr>
              <a:t>HB 2 Section 4.22/SB 568 Section 22</a:t>
            </a:r>
            <a:r>
              <a:rPr lang="en-US"/>
              <a:t> </a:t>
            </a:r>
            <a:r>
              <a:rPr lang="en-US" sz="2800">
                <a:effectLst/>
                <a:latin typeface="Aptos" panose="020B0004020202020204" pitchFamily="34" charset="0"/>
                <a:ea typeface="Calibri" panose="020F0502020204030204" pitchFamily="34" charset="0"/>
                <a:cs typeface="Arial" panose="020B0604020202020204" pitchFamily="34" charset="0"/>
              </a:rPr>
              <a:t>amends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29.022 (q), Video Surveillance of Special Education Settings. (q) The agency shall collect through the Public Education Information Management System (PEIMS) data relating to requests made under this section and actions taken by a school district or open-enrollment charter school in response to a request, including the number of requests made, authorized, and denied.</a:t>
            </a:r>
            <a:r>
              <a:rPr lang="en-US" sz="2800">
                <a:effectLst/>
                <a:latin typeface="Arial" panose="020B0604020202020204" pitchFamily="34" charset="0"/>
                <a:ea typeface="Calibri" panose="020F0502020204030204" pitchFamily="34" charset="0"/>
                <a:cs typeface="Arial" panose="020B0604020202020204" pitchFamily="34" charset="0"/>
              </a:rPr>
              <a:t> </a:t>
            </a:r>
            <a:r>
              <a:rPr lang="en-US" sz="2800">
                <a:effectLst/>
                <a:latin typeface="Aptos" panose="020B0004020202020204" pitchFamily="34" charset="0"/>
                <a:ea typeface="Calibri" panose="020F0502020204030204" pitchFamily="34" charset="0"/>
                <a:cs typeface="Arial" panose="020B0604020202020204" pitchFamily="34" charset="0"/>
              </a:rPr>
              <a:t> </a:t>
            </a:r>
          </a:p>
          <a:p>
            <a:endParaRPr lang="en-US"/>
          </a:p>
        </p:txBody>
      </p:sp>
      <p:sp>
        <p:nvSpPr>
          <p:cNvPr id="2" name="TextBox 1">
            <a:extLst>
              <a:ext uri="{FF2B5EF4-FFF2-40B4-BE49-F238E27FC236}">
                <a16:creationId xmlns:a16="http://schemas.microsoft.com/office/drawing/2014/main" id="{61D3222A-9878-F2CD-A1F0-DE2B4F518112}"/>
              </a:ext>
            </a:extLst>
          </p:cNvPr>
          <p:cNvSpPr txBox="1"/>
          <p:nvPr/>
        </p:nvSpPr>
        <p:spPr>
          <a:xfrm>
            <a:off x="149860" y="5206096"/>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data regarding requests made for video surveillance of special education settings through PEIM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16E3EDF5-6A21-52CB-E556-750293EA834A}"/>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281050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16621-77CB-8203-F939-5EAC3E42D1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0EC6F94-181E-3B79-9D8E-A523996A3D08}"/>
              </a:ext>
            </a:extLst>
          </p:cNvPr>
          <p:cNvSpPr>
            <a:spLocks noGrp="1"/>
          </p:cNvSpPr>
          <p:nvPr>
            <p:ph type="title"/>
          </p:nvPr>
        </p:nvSpPr>
        <p:spPr/>
        <p:txBody>
          <a:bodyPr/>
          <a:lstStyle/>
          <a:p>
            <a:r>
              <a:rPr lang="en-US"/>
              <a:t>HB 2 – Section 4.54/SB 568 – Section 55</a:t>
            </a:r>
          </a:p>
        </p:txBody>
      </p:sp>
      <p:sp>
        <p:nvSpPr>
          <p:cNvPr id="6" name="Content Placeholder 5">
            <a:extLst>
              <a:ext uri="{FF2B5EF4-FFF2-40B4-BE49-F238E27FC236}">
                <a16:creationId xmlns:a16="http://schemas.microsoft.com/office/drawing/2014/main" id="{7D6E8006-DFD0-20F6-2845-24B08EF5C392}"/>
              </a:ext>
            </a:extLst>
          </p:cNvPr>
          <p:cNvSpPr>
            <a:spLocks noGrp="1"/>
          </p:cNvSpPr>
          <p:nvPr>
            <p:ph idx="1"/>
          </p:nvPr>
        </p:nvSpPr>
        <p:spPr>
          <a:xfrm>
            <a:off x="285468" y="1496254"/>
            <a:ext cx="11544581" cy="2325470"/>
          </a:xfrm>
        </p:spPr>
        <p:txBody>
          <a:bodyPr/>
          <a:lstStyle/>
          <a:p>
            <a:r>
              <a:rPr lang="en-US">
                <a:solidFill>
                  <a:srgbClr val="F47F42"/>
                </a:solidFill>
              </a:rPr>
              <a:t>HB 2 Section 4.54/SB 568 Section 55 </a:t>
            </a:r>
            <a:r>
              <a:rPr lang="en-US">
                <a:effectLst/>
                <a:latin typeface="Aptos" panose="020B0004020202020204" pitchFamily="34" charset="0"/>
                <a:ea typeface="Calibri" panose="020F0502020204030204" pitchFamily="34" charset="0"/>
                <a:cs typeface="Arial" panose="020B0604020202020204" pitchFamily="34" charset="0"/>
              </a:rPr>
              <a:t>amends TEC </a:t>
            </a:r>
            <a:r>
              <a:rPr lang="en-US"/>
              <a:t>§</a:t>
            </a:r>
            <a:r>
              <a:rPr lang="en-US">
                <a:effectLst/>
                <a:latin typeface="Aptos" panose="020B0004020202020204" pitchFamily="34" charset="0"/>
                <a:ea typeface="Calibri" panose="020F0502020204030204" pitchFamily="34" charset="0"/>
                <a:cs typeface="Arial" panose="020B0604020202020204" pitchFamily="34" charset="0"/>
              </a:rPr>
              <a:t>48.102, to change the annual allotment for each special education program under Subchapter A, Chapter 29, to be equal to the sum of the basic allotment and the allotment under </a:t>
            </a:r>
            <a:r>
              <a:rPr lang="en-US"/>
              <a:t>§</a:t>
            </a:r>
            <a:r>
              <a:rPr lang="en-US">
                <a:effectLst/>
                <a:latin typeface="Aptos" panose="020B0004020202020204" pitchFamily="34" charset="0"/>
                <a:ea typeface="Calibri" panose="020F0502020204030204" pitchFamily="34" charset="0"/>
                <a:cs typeface="Arial" panose="020B0604020202020204" pitchFamily="34" charset="0"/>
              </a:rPr>
              <a:t>48.101 to which the district is entitled multiplied by a weight in an amount set by legislature in the General Appropriations Act for the </a:t>
            </a:r>
            <a:r>
              <a:rPr lang="en-US" b="1">
                <a:effectLst/>
                <a:latin typeface="Aptos" panose="020B0004020202020204" pitchFamily="34" charset="0"/>
                <a:ea typeface="Calibri" panose="020F0502020204030204" pitchFamily="34" charset="0"/>
                <a:cs typeface="Arial" panose="020B0604020202020204" pitchFamily="34" charset="0"/>
              </a:rPr>
              <a:t>highest tier of intensity of service</a:t>
            </a:r>
            <a:r>
              <a:rPr lang="en-US">
                <a:effectLst/>
                <a:latin typeface="Aptos" panose="020B0004020202020204" pitchFamily="34" charset="0"/>
                <a:ea typeface="Calibri" panose="020F0502020204030204" pitchFamily="34" charset="0"/>
                <a:cs typeface="Arial" panose="020B0604020202020204" pitchFamily="34" charset="0"/>
              </a:rPr>
              <a:t> for which the student qualifies. </a:t>
            </a:r>
          </a:p>
        </p:txBody>
      </p:sp>
      <p:sp>
        <p:nvSpPr>
          <p:cNvPr id="2" name="TextBox 1">
            <a:extLst>
              <a:ext uri="{FF2B5EF4-FFF2-40B4-BE49-F238E27FC236}">
                <a16:creationId xmlns:a16="http://schemas.microsoft.com/office/drawing/2014/main" id="{70AB443D-E2DB-CBC2-B821-0CB605EFF79D}"/>
              </a:ext>
            </a:extLst>
          </p:cNvPr>
          <p:cNvSpPr txBox="1"/>
          <p:nvPr/>
        </p:nvSpPr>
        <p:spPr>
          <a:xfrm>
            <a:off x="285468" y="4926530"/>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the tier of intensity of service for each student receiving special education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DE39CB5-9537-7BD4-0405-1604B334E4DF}"/>
              </a:ext>
            </a:extLst>
          </p:cNvPr>
          <p:cNvSpPr>
            <a:spLocks noGrp="1"/>
          </p:cNvSpPr>
          <p:nvPr>
            <p:ph type="sldNum" sz="quarter" idx="4"/>
          </p:nvPr>
        </p:nvSpPr>
        <p:spPr/>
        <p:txBody>
          <a:bodyPr/>
          <a:lstStyle/>
          <a:p>
            <a:fld id="{69C126A4-BD19-47E2-8A0E-0DE1B9D8C925}" type="slidenum">
              <a:rPr lang="en-US" smtClean="0"/>
              <a:pPr/>
              <a:t>43</a:t>
            </a:fld>
            <a:endParaRPr lang="en-US"/>
          </a:p>
        </p:txBody>
      </p:sp>
    </p:spTree>
    <p:extLst>
      <p:ext uri="{BB962C8B-B14F-4D97-AF65-F5344CB8AC3E}">
        <p14:creationId xmlns:p14="http://schemas.microsoft.com/office/powerpoint/2010/main" val="1556923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9350A-914C-29BB-2473-1D1156AD83D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2B0B6B-D67A-4396-89C3-3216B012D825}"/>
              </a:ext>
            </a:extLst>
          </p:cNvPr>
          <p:cNvSpPr>
            <a:spLocks noGrp="1"/>
          </p:cNvSpPr>
          <p:nvPr>
            <p:ph type="title"/>
          </p:nvPr>
        </p:nvSpPr>
        <p:spPr/>
        <p:txBody>
          <a:bodyPr/>
          <a:lstStyle/>
          <a:p>
            <a:r>
              <a:rPr lang="en-US"/>
              <a:t>HB 2 – Section 4.55/SB 568 – Section 56</a:t>
            </a:r>
          </a:p>
        </p:txBody>
      </p:sp>
      <p:sp>
        <p:nvSpPr>
          <p:cNvPr id="6" name="Content Placeholder 5">
            <a:extLst>
              <a:ext uri="{FF2B5EF4-FFF2-40B4-BE49-F238E27FC236}">
                <a16:creationId xmlns:a16="http://schemas.microsoft.com/office/drawing/2014/main" id="{E7FC2AE3-DF3B-AE58-2363-E859D924349F}"/>
              </a:ext>
            </a:extLst>
          </p:cNvPr>
          <p:cNvSpPr>
            <a:spLocks noGrp="1"/>
          </p:cNvSpPr>
          <p:nvPr>
            <p:ph idx="1"/>
          </p:nvPr>
        </p:nvSpPr>
        <p:spPr>
          <a:xfrm>
            <a:off x="285468" y="1496253"/>
            <a:ext cx="11544581" cy="3295666"/>
          </a:xfrm>
        </p:spPr>
        <p:txBody>
          <a:bodyPr/>
          <a:lstStyle/>
          <a:p>
            <a:r>
              <a:rPr lang="en-US">
                <a:solidFill>
                  <a:srgbClr val="F47F42"/>
                </a:solidFill>
              </a:rPr>
              <a:t>HB 2 Section 4.55/SB 568 Section 56 </a:t>
            </a:r>
            <a:r>
              <a:rPr lang="en-US" sz="2800">
                <a:effectLst/>
                <a:latin typeface="Aptos" panose="020B0004020202020204" pitchFamily="34" charset="0"/>
                <a:ea typeface="Calibri" panose="020F0502020204030204" pitchFamily="34" charset="0"/>
                <a:cs typeface="Arial" panose="020B0604020202020204" pitchFamily="34" charset="0"/>
              </a:rPr>
              <a:t>amends Subchapter C, Chapter 48, Education Code by adding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21. 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21 provides a Special Education Service Group Allotment for each six-week period in which a student in a special education program under Subchapter A, Chapter 29, receives special education services. The commissioner by rule shall establish at least four service groups for use in determining funding. At least 55 percent of the funds allocated under this section must be used for a special education program under Subchapter A, Chapter 29. </a:t>
            </a:r>
          </a:p>
          <a:p>
            <a:endParaRPr lang="en-US"/>
          </a:p>
        </p:txBody>
      </p:sp>
      <p:sp>
        <p:nvSpPr>
          <p:cNvPr id="2" name="TextBox 1">
            <a:extLst>
              <a:ext uri="{FF2B5EF4-FFF2-40B4-BE49-F238E27FC236}">
                <a16:creationId xmlns:a16="http://schemas.microsoft.com/office/drawing/2014/main" id="{9ED90D35-81A6-F97B-4338-6E6867D0B1CA}"/>
              </a:ext>
            </a:extLst>
          </p:cNvPr>
          <p:cNvSpPr txBox="1"/>
          <p:nvPr/>
        </p:nvSpPr>
        <p:spPr>
          <a:xfrm>
            <a:off x="285468" y="5225307"/>
            <a:ext cx="11452442" cy="482633"/>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 service group for each six weeks for student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11A6136-D4F9-C452-0F14-4FCABF3E3F88}"/>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17242207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C33F3-263E-8AC4-3129-994309A2BBE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0DBD886-981C-FD26-4735-C3DCE519D495}"/>
              </a:ext>
            </a:extLst>
          </p:cNvPr>
          <p:cNvSpPr>
            <a:spLocks noGrp="1"/>
          </p:cNvSpPr>
          <p:nvPr>
            <p:ph type="title"/>
          </p:nvPr>
        </p:nvSpPr>
        <p:spPr/>
        <p:txBody>
          <a:bodyPr/>
          <a:lstStyle/>
          <a:p>
            <a:r>
              <a:rPr lang="en-US"/>
              <a:t>HB 2 – Section 4.56/SB 568 – Section 57</a:t>
            </a:r>
          </a:p>
        </p:txBody>
      </p:sp>
      <p:sp>
        <p:nvSpPr>
          <p:cNvPr id="6" name="Content Placeholder 5">
            <a:extLst>
              <a:ext uri="{FF2B5EF4-FFF2-40B4-BE49-F238E27FC236}">
                <a16:creationId xmlns:a16="http://schemas.microsoft.com/office/drawing/2014/main" id="{DB01036A-F789-D1A0-5232-2A6793282EE9}"/>
              </a:ext>
            </a:extLst>
          </p:cNvPr>
          <p:cNvSpPr>
            <a:spLocks noGrp="1"/>
          </p:cNvSpPr>
          <p:nvPr>
            <p:ph idx="1"/>
          </p:nvPr>
        </p:nvSpPr>
        <p:spPr/>
        <p:txBody>
          <a:bodyPr/>
          <a:lstStyle/>
          <a:p>
            <a:pPr marR="0"/>
            <a:r>
              <a:rPr lang="en-US">
                <a:solidFill>
                  <a:srgbClr val="F47F42"/>
                </a:solidFill>
              </a:rPr>
              <a:t>HB 2 Section 4.56/SB 568 Section 57 </a:t>
            </a:r>
            <a:r>
              <a:rPr lang="en-US">
                <a:solidFill>
                  <a:srgbClr val="0D6CB9"/>
                </a:solidFill>
              </a:rPr>
              <a:t>amends </a:t>
            </a:r>
            <a:r>
              <a:rPr lang="en-US" sz="2800">
                <a:effectLst/>
                <a:latin typeface="Aptos" panose="020B0004020202020204" pitchFamily="34" charset="0"/>
                <a:ea typeface="Calibri" panose="020F0502020204030204" pitchFamily="34" charset="0"/>
                <a:cs typeface="Arial" panose="020B0604020202020204" pitchFamily="34" charset="0"/>
              </a:rPr>
              <a:t>TEC </a:t>
            </a:r>
            <a:r>
              <a:rPr lang="en-US"/>
              <a:t>§</a:t>
            </a:r>
            <a:r>
              <a:rPr lang="en-US" sz="2800">
                <a:effectLst/>
                <a:latin typeface="Aptos" panose="020B0004020202020204" pitchFamily="34" charset="0"/>
                <a:ea typeface="Calibri" panose="020F0502020204030204" pitchFamily="34" charset="0"/>
                <a:cs typeface="Arial" panose="020B0604020202020204" pitchFamily="34" charset="0"/>
              </a:rPr>
              <a:t>48.103(b)(2) by removing the entitlement of an LEA to a dyslexia allotment for a student receiving dyslexia instruction that (A) meets applicable dyslexia program criteria established by the State Board of Education; and (B) is provided by a person with specific training in providing that instruction. </a:t>
            </a:r>
          </a:p>
          <a:p>
            <a:endParaRPr lang="en-US"/>
          </a:p>
        </p:txBody>
      </p:sp>
      <p:sp>
        <p:nvSpPr>
          <p:cNvPr id="2" name="TextBox 1">
            <a:extLst>
              <a:ext uri="{FF2B5EF4-FFF2-40B4-BE49-F238E27FC236}">
                <a16:creationId xmlns:a16="http://schemas.microsoft.com/office/drawing/2014/main" id="{B6180068-8151-AB5D-08AB-C7D23F6A184F}"/>
              </a:ext>
            </a:extLst>
          </p:cNvPr>
          <p:cNvSpPr txBox="1"/>
          <p:nvPr/>
        </p:nvSpPr>
        <p:spPr>
          <a:xfrm>
            <a:off x="369779" y="4268547"/>
            <a:ext cx="11452442" cy="870431"/>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hange what is collected for students receiving dyslexia services.</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5D7595EB-64EC-4A17-C1AC-117D94ABEE15}"/>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13898154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6D65B-753A-2CF3-A4D5-225F46557AD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A312067-0F35-73AA-396C-0247F834D1AF}"/>
              </a:ext>
            </a:extLst>
          </p:cNvPr>
          <p:cNvSpPr>
            <a:spLocks noGrp="1"/>
          </p:cNvSpPr>
          <p:nvPr>
            <p:ph type="title"/>
          </p:nvPr>
        </p:nvSpPr>
        <p:spPr/>
        <p:txBody>
          <a:bodyPr/>
          <a:lstStyle/>
          <a:p>
            <a:r>
              <a:rPr lang="en-US"/>
              <a:t>HB 2 – Section 7.01/SB 12 – Section 2</a:t>
            </a:r>
          </a:p>
        </p:txBody>
      </p:sp>
      <p:sp>
        <p:nvSpPr>
          <p:cNvPr id="6" name="Content Placeholder 5">
            <a:extLst>
              <a:ext uri="{FF2B5EF4-FFF2-40B4-BE49-F238E27FC236}">
                <a16:creationId xmlns:a16="http://schemas.microsoft.com/office/drawing/2014/main" id="{3B3621CA-A22F-3911-6700-219E78ADFA5D}"/>
              </a:ext>
            </a:extLst>
          </p:cNvPr>
          <p:cNvSpPr>
            <a:spLocks noGrp="1"/>
          </p:cNvSpPr>
          <p:nvPr>
            <p:ph idx="1"/>
          </p:nvPr>
        </p:nvSpPr>
        <p:spPr/>
        <p:txBody>
          <a:bodyPr/>
          <a:lstStyle/>
          <a:p>
            <a:r>
              <a:rPr lang="en-US">
                <a:solidFill>
                  <a:srgbClr val="F47F42"/>
                </a:solidFill>
              </a:rPr>
              <a:t>HB 2 Section 7.01/SB 12 Section 2</a:t>
            </a:r>
            <a:r>
              <a:rPr lang="en-US"/>
              <a:t> </a:t>
            </a:r>
            <a:r>
              <a:rPr lang="en-US">
                <a:effectLst/>
                <a:latin typeface="Aptos" panose="020B0004020202020204" pitchFamily="34" charset="0"/>
                <a:ea typeface="Calibri" panose="020F0502020204030204" pitchFamily="34" charset="0"/>
                <a:cs typeface="Arial" panose="020B0604020202020204" pitchFamily="34" charset="0"/>
              </a:rPr>
              <a:t>amends Subchapter C, Chapter 7, Education Code by adding Section 7.0611, Facility Usage Report. (b) the agency by rule shall require each school district to annually report information about an LEA’s facilities and the usage of the facilities. </a:t>
            </a:r>
            <a:endParaRPr lang="en-US"/>
          </a:p>
        </p:txBody>
      </p:sp>
      <p:sp>
        <p:nvSpPr>
          <p:cNvPr id="2" name="TextBox 1">
            <a:extLst>
              <a:ext uri="{FF2B5EF4-FFF2-40B4-BE49-F238E27FC236}">
                <a16:creationId xmlns:a16="http://schemas.microsoft.com/office/drawing/2014/main" id="{821332DE-C74A-92D7-71A6-05DDC015B48D}"/>
              </a:ext>
            </a:extLst>
          </p:cNvPr>
          <p:cNvSpPr txBox="1"/>
          <p:nvPr/>
        </p:nvSpPr>
        <p:spPr>
          <a:xfrm>
            <a:off x="331537" y="4148760"/>
            <a:ext cx="11452442" cy="1258230"/>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collection for LEAs to report facility information, enrollment capacity, square footage, and usage of the facility.</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CF4F07A-82C0-743F-5A68-98B3E148AC9F}"/>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728663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ACA45-1AE4-6D6D-8B6F-537BBB7E95B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F304764-A7C3-42FF-080F-4A3B7709A68C}"/>
              </a:ext>
            </a:extLst>
          </p:cNvPr>
          <p:cNvSpPr>
            <a:spLocks noGrp="1"/>
          </p:cNvSpPr>
          <p:nvPr>
            <p:ph type="title"/>
          </p:nvPr>
        </p:nvSpPr>
        <p:spPr/>
        <p:txBody>
          <a:bodyPr/>
          <a:lstStyle/>
          <a:p>
            <a:r>
              <a:rPr lang="en-US"/>
              <a:t>HB 20</a:t>
            </a:r>
          </a:p>
        </p:txBody>
      </p:sp>
      <p:sp>
        <p:nvSpPr>
          <p:cNvPr id="6" name="Content Placeholder 5">
            <a:extLst>
              <a:ext uri="{FF2B5EF4-FFF2-40B4-BE49-F238E27FC236}">
                <a16:creationId xmlns:a16="http://schemas.microsoft.com/office/drawing/2014/main" id="{326A860C-7132-0DD5-00A7-89B225403F77}"/>
              </a:ext>
            </a:extLst>
          </p:cNvPr>
          <p:cNvSpPr>
            <a:spLocks noGrp="1"/>
          </p:cNvSpPr>
          <p:nvPr>
            <p:ph idx="1"/>
          </p:nvPr>
        </p:nvSpPr>
        <p:spPr/>
        <p:txBody>
          <a:bodyPr/>
          <a:lstStyle/>
          <a:p>
            <a:r>
              <a:rPr lang="en-US">
                <a:solidFill>
                  <a:srgbClr val="F47F42"/>
                </a:solidFill>
              </a:rPr>
              <a:t>HB 20 </a:t>
            </a:r>
            <a:r>
              <a:rPr lang="en-US"/>
              <a:t>amends Subsection Z, Chapter 29, Education Code by adding TEC §29.914. </a:t>
            </a:r>
            <a:r>
              <a:rPr lang="en-US">
                <a:solidFill>
                  <a:srgbClr val="F47F42"/>
                </a:solidFill>
              </a:rPr>
              <a:t>Applied Sciences Pathway Program</a:t>
            </a:r>
            <a:r>
              <a:rPr lang="en-US"/>
              <a:t>. The commissioner shall establish and administer the </a:t>
            </a:r>
            <a:r>
              <a:rPr lang="en-US">
                <a:solidFill>
                  <a:srgbClr val="F47F42"/>
                </a:solidFill>
              </a:rPr>
              <a:t>Applied Sciences Pathway </a:t>
            </a:r>
            <a:r>
              <a:rPr lang="en-US"/>
              <a:t>program to provide opportunities for students to concurrently earn high school diplomas and certificates from institutions of higher education.</a:t>
            </a:r>
          </a:p>
        </p:txBody>
      </p:sp>
      <p:sp>
        <p:nvSpPr>
          <p:cNvPr id="2" name="TextBox 1">
            <a:extLst>
              <a:ext uri="{FF2B5EF4-FFF2-40B4-BE49-F238E27FC236}">
                <a16:creationId xmlns:a16="http://schemas.microsoft.com/office/drawing/2014/main" id="{B98EC0DE-7B4C-2A9C-0365-4CC752B3F059}"/>
              </a:ext>
            </a:extLst>
          </p:cNvPr>
          <p:cNvSpPr txBox="1"/>
          <p:nvPr/>
        </p:nvSpPr>
        <p:spPr>
          <a:xfrm>
            <a:off x="331537" y="4148760"/>
            <a:ext cx="11452442" cy="1258230"/>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8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 new </a:t>
            </a:r>
            <a:r>
              <a:rPr lang="en-US" sz="2800">
                <a:solidFill>
                  <a:srgbClr val="0D6CB9"/>
                </a:solidFill>
                <a:latin typeface="Aptos" panose="020B0004020202020204" pitchFamily="34" charset="0"/>
              </a:rPr>
              <a:t>data element with a descriptor table to collect the certificates earned by students and a new </a:t>
            </a:r>
            <a:r>
              <a:rPr lang="en-US" sz="2800" i="1">
                <a:solidFill>
                  <a:srgbClr val="0D6CB9"/>
                </a:solidFill>
                <a:latin typeface="Aptos" panose="020B0004020202020204" pitchFamily="34" charset="0"/>
              </a:rPr>
              <a:t>StudentCharacteristic</a:t>
            </a:r>
            <a:r>
              <a:rPr lang="en-US" sz="2800">
                <a:solidFill>
                  <a:srgbClr val="0D6CB9"/>
                </a:solidFill>
                <a:latin typeface="Aptos" panose="020B0004020202020204" pitchFamily="34" charset="0"/>
              </a:rPr>
              <a:t> to collect students participating in the Applied Sciences Pathway.</a:t>
            </a:r>
            <a:endPar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82575273-6641-5B15-585A-DE352769618A}"/>
              </a:ext>
            </a:extLst>
          </p:cNvPr>
          <p:cNvSpPr>
            <a:spLocks noGrp="1"/>
          </p:cNvSpPr>
          <p:nvPr>
            <p:ph type="sldNum" sz="quarter" idx="4"/>
          </p:nvPr>
        </p:nvSpPr>
        <p:spPr/>
        <p:txBody>
          <a:bodyPr/>
          <a:lstStyle/>
          <a:p>
            <a:fld id="{69C126A4-BD19-47E2-8A0E-0DE1B9D8C925}" type="slidenum">
              <a:rPr lang="en-US" smtClean="0"/>
              <a:pPr/>
              <a:t>47</a:t>
            </a:fld>
            <a:endParaRPr lang="en-US"/>
          </a:p>
        </p:txBody>
      </p:sp>
    </p:spTree>
    <p:extLst>
      <p:ext uri="{BB962C8B-B14F-4D97-AF65-F5344CB8AC3E}">
        <p14:creationId xmlns:p14="http://schemas.microsoft.com/office/powerpoint/2010/main" val="25184203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151AE-88D5-E42A-462E-036437AA7D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457B258-7663-72E8-E809-E2953AD2CED3}"/>
              </a:ext>
            </a:extLst>
          </p:cNvPr>
          <p:cNvSpPr>
            <a:spLocks noGrp="1"/>
          </p:cNvSpPr>
          <p:nvPr>
            <p:ph type="title"/>
          </p:nvPr>
        </p:nvSpPr>
        <p:spPr/>
        <p:txBody>
          <a:bodyPr/>
          <a:lstStyle/>
          <a:p>
            <a:r>
              <a:rPr lang="en-US"/>
              <a:t>SB 12 – Section 20 </a:t>
            </a:r>
          </a:p>
        </p:txBody>
      </p:sp>
      <p:sp>
        <p:nvSpPr>
          <p:cNvPr id="6" name="Content Placeholder 5">
            <a:extLst>
              <a:ext uri="{FF2B5EF4-FFF2-40B4-BE49-F238E27FC236}">
                <a16:creationId xmlns:a16="http://schemas.microsoft.com/office/drawing/2014/main" id="{6BB5A350-111B-7786-4F59-B2282FB5113F}"/>
              </a:ext>
            </a:extLst>
          </p:cNvPr>
          <p:cNvSpPr>
            <a:spLocks noGrp="1"/>
          </p:cNvSpPr>
          <p:nvPr>
            <p:ph idx="1"/>
          </p:nvPr>
        </p:nvSpPr>
        <p:spPr>
          <a:xfrm>
            <a:off x="285468" y="1496253"/>
            <a:ext cx="11544581" cy="3535292"/>
          </a:xfrm>
        </p:spPr>
        <p:txBody>
          <a:bodyPr/>
          <a:lstStyle/>
          <a:p>
            <a:r>
              <a:rPr lang="en-US" sz="2400">
                <a:solidFill>
                  <a:srgbClr val="F47F42"/>
                </a:solidFill>
              </a:rPr>
              <a:t>SB 12 Section 20</a:t>
            </a:r>
            <a:r>
              <a:rPr lang="en-US" sz="2400"/>
              <a:t> amends Subtitle E, Title 2, Education Code, by adding Chapter 26A. </a:t>
            </a:r>
          </a:p>
          <a:p>
            <a:pPr marL="457200" lvl="1" indent="0">
              <a:buNone/>
            </a:pPr>
            <a:r>
              <a:rPr lang="en-US"/>
              <a:t>TEC §26A.001(a) The board of trustees of a school district shall adopt a </a:t>
            </a:r>
            <a:r>
              <a:rPr lang="en-US">
                <a:solidFill>
                  <a:srgbClr val="0D6CB9"/>
                </a:solidFill>
              </a:rPr>
              <a:t>grievance policy </a:t>
            </a:r>
            <a:r>
              <a:rPr lang="en-US"/>
              <a:t>to address grievances received by the district.</a:t>
            </a:r>
          </a:p>
          <a:p>
            <a:pPr marL="457200" lvl="1" indent="0">
              <a:buNone/>
            </a:pPr>
            <a:r>
              <a:rPr lang="en-US"/>
              <a:t>TEC §26A.001(g) Each school district shall </a:t>
            </a:r>
            <a:r>
              <a:rPr lang="en-US">
                <a:solidFill>
                  <a:srgbClr val="F47F42"/>
                </a:solidFill>
              </a:rPr>
              <a:t>annually submit to the agency a report on grievances filed in the district during the preceding year</a:t>
            </a:r>
            <a:r>
              <a:rPr lang="en-US"/>
              <a:t>. The report must include, for each grievance, the </a:t>
            </a:r>
            <a:r>
              <a:rPr lang="en-US">
                <a:solidFill>
                  <a:srgbClr val="F47F42"/>
                </a:solidFill>
              </a:rPr>
              <a:t>resolution </a:t>
            </a:r>
            <a:r>
              <a:rPr lang="en-US"/>
              <a:t>of the grievance and any </a:t>
            </a:r>
            <a:r>
              <a:rPr lang="en-US">
                <a:solidFill>
                  <a:srgbClr val="F47F42"/>
                </a:solidFill>
              </a:rPr>
              <a:t>corrective action </a:t>
            </a:r>
            <a:r>
              <a:rPr lang="en-US"/>
              <a:t>taken.</a:t>
            </a:r>
          </a:p>
          <a:p>
            <a:pPr marL="457200" lvl="1" indent="0">
              <a:buNone/>
            </a:pPr>
            <a:r>
              <a:rPr lang="en-US"/>
              <a:t>TEC § 26A.003(c) A school district shall submit and make accessible to the agency the location on the district’s Internet website at which the information described by Subsection (a) is available.</a:t>
            </a:r>
          </a:p>
        </p:txBody>
      </p:sp>
      <p:sp>
        <p:nvSpPr>
          <p:cNvPr id="2" name="TextBox 1">
            <a:extLst>
              <a:ext uri="{FF2B5EF4-FFF2-40B4-BE49-F238E27FC236}">
                <a16:creationId xmlns:a16="http://schemas.microsoft.com/office/drawing/2014/main" id="{A169AE35-9AA7-79D4-8F82-339994C44618}"/>
              </a:ext>
            </a:extLst>
          </p:cNvPr>
          <p:cNvSpPr txBox="1"/>
          <p:nvPr/>
        </p:nvSpPr>
        <p:spPr>
          <a:xfrm>
            <a:off x="369779" y="5402130"/>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t>
            </a:r>
            <a:r>
              <a:rPr lang="en-US" sz="2400">
                <a:solidFill>
                  <a:srgbClr val="0D6CB9"/>
                </a:solidFill>
                <a:latin typeface="Aptos" panose="020B0004020202020204" pitchFamily="34" charset="0"/>
              </a:rPr>
              <a:t>information on the grievances filed, the resolution of the grievance, and any corrective action taken by the LEA</a:t>
            </a: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25057D69-74EC-9A60-BE83-A41D89BCC152}"/>
              </a:ext>
            </a:extLst>
          </p:cNvPr>
          <p:cNvSpPr>
            <a:spLocks noGrp="1"/>
          </p:cNvSpPr>
          <p:nvPr>
            <p:ph type="sldNum" sz="quarter" idx="4"/>
          </p:nvPr>
        </p:nvSpPr>
        <p:spPr/>
        <p:txBody>
          <a:bodyPr/>
          <a:lstStyle/>
          <a:p>
            <a:fld id="{69C126A4-BD19-47E2-8A0E-0DE1B9D8C925}" type="slidenum">
              <a:rPr lang="en-US" smtClean="0"/>
              <a:pPr/>
              <a:t>48</a:t>
            </a:fld>
            <a:endParaRPr lang="en-US"/>
          </a:p>
        </p:txBody>
      </p:sp>
    </p:spTree>
    <p:extLst>
      <p:ext uri="{BB962C8B-B14F-4D97-AF65-F5344CB8AC3E}">
        <p14:creationId xmlns:p14="http://schemas.microsoft.com/office/powerpoint/2010/main" val="26960035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70D4C-A45A-3104-9D6D-9007CA20EF8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DBEDCE6-A0EA-312C-F8E4-2C6C9CBE90E0}"/>
              </a:ext>
            </a:extLst>
          </p:cNvPr>
          <p:cNvSpPr>
            <a:spLocks noGrp="1"/>
          </p:cNvSpPr>
          <p:nvPr>
            <p:ph type="title"/>
          </p:nvPr>
        </p:nvSpPr>
        <p:spPr/>
        <p:txBody>
          <a:bodyPr/>
          <a:lstStyle/>
          <a:p>
            <a:r>
              <a:rPr lang="en-US"/>
              <a:t>SB 2 – TSDS PEIMS</a:t>
            </a:r>
          </a:p>
        </p:txBody>
      </p:sp>
      <p:sp>
        <p:nvSpPr>
          <p:cNvPr id="6" name="Content Placeholder 5">
            <a:extLst>
              <a:ext uri="{FF2B5EF4-FFF2-40B4-BE49-F238E27FC236}">
                <a16:creationId xmlns:a16="http://schemas.microsoft.com/office/drawing/2014/main" id="{C2DA33ED-9A15-D567-35DA-C488ED9F6838}"/>
              </a:ext>
            </a:extLst>
          </p:cNvPr>
          <p:cNvSpPr>
            <a:spLocks noGrp="1"/>
          </p:cNvSpPr>
          <p:nvPr>
            <p:ph idx="1"/>
          </p:nvPr>
        </p:nvSpPr>
        <p:spPr/>
        <p:txBody>
          <a:bodyPr/>
          <a:lstStyle/>
          <a:p>
            <a:pPr fontAlgn="base"/>
            <a:r>
              <a:rPr lang="en-US" sz="2400">
                <a:solidFill>
                  <a:srgbClr val="F47F42"/>
                </a:solidFill>
              </a:rPr>
              <a:t>SB 2</a:t>
            </a:r>
            <a:r>
              <a:rPr lang="en-US" sz="2400"/>
              <a:t> amends Chapter 29, Education Code by creating a new subchapter J , which creates an Education Savings Account Program administered by the Comptroller and then outlines the program. TEC </a:t>
            </a:r>
            <a:r>
              <a:rPr lang="en-US"/>
              <a:t>§</a:t>
            </a:r>
            <a:r>
              <a:rPr lang="en-US" sz="2400"/>
              <a:t>29.3611. </a:t>
            </a:r>
            <a:r>
              <a:rPr lang="en-US" sz="2400">
                <a:solidFill>
                  <a:srgbClr val="F47F42"/>
                </a:solidFill>
              </a:rPr>
              <a:t>Enrollment in Public School</a:t>
            </a:r>
            <a:r>
              <a:rPr lang="en-US" sz="2400"/>
              <a:t>. If a child ceases participation in the program during a school year due to the child’s enrollment in a school district or open-enrollment charter school: The district or school is entitled to receive, in addition to other funding to which the district or school is entitled to receive for the child, an allotment in an amount equal to the basic allotment multiplied by 0.1 for the child’s average daily attendance at the district or school for that school year; and The child may not be considered in evaluating the performance of a school district or open-enrollment charter school under the public school accountability system as prescribed by Chapters 39 and 39A for the first school year after the child ceases participation in the program.</a:t>
            </a:r>
          </a:p>
        </p:txBody>
      </p:sp>
      <p:sp>
        <p:nvSpPr>
          <p:cNvPr id="2" name="TextBox 1">
            <a:extLst>
              <a:ext uri="{FF2B5EF4-FFF2-40B4-BE49-F238E27FC236}">
                <a16:creationId xmlns:a16="http://schemas.microsoft.com/office/drawing/2014/main" id="{5DE95F13-CB33-36E3-2195-9B411A4A8A9F}"/>
              </a:ext>
            </a:extLst>
          </p:cNvPr>
          <p:cNvSpPr txBox="1"/>
          <p:nvPr/>
        </p:nvSpPr>
        <p:spPr>
          <a:xfrm>
            <a:off x="493762" y="5847591"/>
            <a:ext cx="11452442" cy="759247"/>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collect an indicator for students who return to an LEA after participating in an Education Savings Account Program.</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0BB4DF72-739B-3EDD-8DBD-38E18F66C8AF}"/>
              </a:ext>
            </a:extLst>
          </p:cNvPr>
          <p:cNvSpPr>
            <a:spLocks noGrp="1"/>
          </p:cNvSpPr>
          <p:nvPr>
            <p:ph type="sldNum" sz="quarter" idx="4"/>
          </p:nvPr>
        </p:nvSpPr>
        <p:spPr/>
        <p:txBody>
          <a:bodyPr/>
          <a:lstStyle/>
          <a:p>
            <a:fld id="{69C126A4-BD19-47E2-8A0E-0DE1B9D8C925}" type="slidenum">
              <a:rPr lang="en-US" smtClean="0"/>
              <a:pPr/>
              <a:t>49</a:t>
            </a:fld>
            <a:endParaRPr lang="en-US"/>
          </a:p>
        </p:txBody>
      </p:sp>
    </p:spTree>
    <p:extLst>
      <p:ext uri="{BB962C8B-B14F-4D97-AF65-F5344CB8AC3E}">
        <p14:creationId xmlns:p14="http://schemas.microsoft.com/office/powerpoint/2010/main" val="1142516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1228F-DCBF-906C-F110-0978F8B1039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03B5430-191A-AD94-D6DC-8BC900340A99}"/>
              </a:ext>
            </a:extLst>
          </p:cNvPr>
          <p:cNvSpPr>
            <a:spLocks noGrp="1"/>
          </p:cNvSpPr>
          <p:nvPr>
            <p:ph type="ctrTitle"/>
          </p:nvPr>
        </p:nvSpPr>
        <p:spPr/>
        <p:txBody>
          <a:bodyPr/>
          <a:lstStyle/>
          <a:p>
            <a:r>
              <a:rPr lang="en-US"/>
              <a:t>2026-2027 Agenda</a:t>
            </a:r>
          </a:p>
        </p:txBody>
      </p:sp>
      <p:sp>
        <p:nvSpPr>
          <p:cNvPr id="3" name="Slide Number Placeholder 2">
            <a:extLst>
              <a:ext uri="{FF2B5EF4-FFF2-40B4-BE49-F238E27FC236}">
                <a16:creationId xmlns:a16="http://schemas.microsoft.com/office/drawing/2014/main" id="{5BEA38B2-9ACD-00D7-76CD-03038D96F500}"/>
              </a:ext>
            </a:extLst>
          </p:cNvPr>
          <p:cNvSpPr>
            <a:spLocks noGrp="1"/>
          </p:cNvSpPr>
          <p:nvPr>
            <p:ph type="sldNum" sz="quarter" idx="4"/>
          </p:nvPr>
        </p:nvSpPr>
        <p:spPr/>
        <p:txBody>
          <a:bodyPr/>
          <a:lstStyle/>
          <a:p>
            <a:fld id="{69C126A4-BD19-47E2-8A0E-0DE1B9D8C925}" type="slidenum">
              <a:rPr lang="en-US" smtClean="0"/>
              <a:pPr/>
              <a:t>5</a:t>
            </a:fld>
            <a:endParaRPr lang="en-US"/>
          </a:p>
        </p:txBody>
      </p:sp>
      <p:sp>
        <p:nvSpPr>
          <p:cNvPr id="2" name="TextBox 1">
            <a:extLst>
              <a:ext uri="{FF2B5EF4-FFF2-40B4-BE49-F238E27FC236}">
                <a16:creationId xmlns:a16="http://schemas.microsoft.com/office/drawing/2014/main" id="{BD4B6C70-257D-49CC-5A9B-AD5D7F704E65}"/>
              </a:ext>
            </a:extLst>
          </p:cNvPr>
          <p:cNvSpPr txBox="1"/>
          <p:nvPr/>
        </p:nvSpPr>
        <p:spPr>
          <a:xfrm>
            <a:off x="2073349" y="1658189"/>
            <a:ext cx="9914861" cy="2523768"/>
          </a:xfrm>
          <a:prstGeom prst="rect">
            <a:avLst/>
          </a:prstGeom>
          <a:noFill/>
        </p:spPr>
        <p:txBody>
          <a:bodyPr wrap="square">
            <a:spAutoFit/>
          </a:bodyPr>
          <a:lstStyle/>
          <a:p>
            <a:pPr>
              <a:spcAft>
                <a:spcPts val="1200"/>
              </a:spcAft>
              <a:buClr>
                <a:srgbClr val="D85632"/>
              </a:buClr>
            </a:pPr>
            <a:r>
              <a:rPr lang="en-US" sz="2800" b="1">
                <a:solidFill>
                  <a:srgbClr val="D85632"/>
                </a:solidFill>
                <a:latin typeface="Aptos" panose="020B0004020202020204" pitchFamily="34" charset="0"/>
              </a:rPr>
              <a:t>2026-2027</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2.18 – Educator Preparation Program</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3.08 – Teacher Vacancy Collection </a:t>
            </a:r>
            <a:r>
              <a:rPr lang="en-US">
                <a:solidFill>
                  <a:srgbClr val="D85632"/>
                </a:solidFill>
                <a:latin typeface="Aptos" panose="020B0004020202020204" pitchFamily="34" charset="0"/>
              </a:rPr>
              <a:t>*New Collection*</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10 – Early Literacy and Numeracy </a:t>
            </a:r>
            <a:r>
              <a:rPr lang="en-US">
                <a:solidFill>
                  <a:srgbClr val="D85632"/>
                </a:solidFill>
                <a:latin typeface="Aptos" panose="020B0004020202020204" pitchFamily="34" charset="0"/>
              </a:rPr>
              <a:t>*New Collection*</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11 – Third Grade Supplemental Supports </a:t>
            </a:r>
            <a:r>
              <a:rPr lang="en-US">
                <a:solidFill>
                  <a:srgbClr val="D85632"/>
                </a:solidFill>
                <a:latin typeface="Aptos" panose="020B0004020202020204" pitchFamily="34" charset="0"/>
              </a:rPr>
              <a:t>*New Data Element*</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5.27  - Early Literacy Intervention Allotment </a:t>
            </a:r>
            <a:r>
              <a:rPr lang="en-US">
                <a:solidFill>
                  <a:srgbClr val="D85632"/>
                </a:solidFill>
                <a:latin typeface="Aptos" panose="020B0004020202020204" pitchFamily="34" charset="0"/>
              </a:rPr>
              <a:t>*New Descriptor*</a:t>
            </a:r>
            <a:endParaRPr lang="en-US" sz="2000">
              <a:solidFill>
                <a:srgbClr val="D85632"/>
              </a:solidFill>
              <a:latin typeface="Aptos" panose="020B0004020202020204" pitchFamily="34" charset="0"/>
            </a:endParaRPr>
          </a:p>
        </p:txBody>
      </p:sp>
    </p:spTree>
    <p:extLst>
      <p:ext uri="{BB962C8B-B14F-4D97-AF65-F5344CB8AC3E}">
        <p14:creationId xmlns:p14="http://schemas.microsoft.com/office/powerpoint/2010/main" val="9709144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8BEA1-C578-0D5C-0784-CFE796B630C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DCC938C-C71C-014F-B3AB-CD4D8B9C3DBD}"/>
              </a:ext>
            </a:extLst>
          </p:cNvPr>
          <p:cNvSpPr>
            <a:spLocks noGrp="1"/>
          </p:cNvSpPr>
          <p:nvPr>
            <p:ph type="title"/>
          </p:nvPr>
        </p:nvSpPr>
        <p:spPr/>
        <p:txBody>
          <a:bodyPr/>
          <a:lstStyle/>
          <a:p>
            <a:r>
              <a:rPr lang="en-US"/>
              <a:t>SB 2 – Enrollment Tracking </a:t>
            </a:r>
          </a:p>
        </p:txBody>
      </p:sp>
      <p:sp>
        <p:nvSpPr>
          <p:cNvPr id="6" name="Content Placeholder 5">
            <a:extLst>
              <a:ext uri="{FF2B5EF4-FFF2-40B4-BE49-F238E27FC236}">
                <a16:creationId xmlns:a16="http://schemas.microsoft.com/office/drawing/2014/main" id="{45A9ED55-5841-64CD-AE88-AC43F634DB25}"/>
              </a:ext>
            </a:extLst>
          </p:cNvPr>
          <p:cNvSpPr>
            <a:spLocks noGrp="1"/>
          </p:cNvSpPr>
          <p:nvPr>
            <p:ph idx="1"/>
          </p:nvPr>
        </p:nvSpPr>
        <p:spPr/>
        <p:txBody>
          <a:bodyPr/>
          <a:lstStyle/>
          <a:p>
            <a:pPr fontAlgn="base"/>
            <a:r>
              <a:rPr lang="en-US">
                <a:solidFill>
                  <a:srgbClr val="F47F42"/>
                </a:solidFill>
              </a:rPr>
              <a:t>SB 2</a:t>
            </a:r>
            <a:r>
              <a:rPr lang="en-US"/>
              <a:t> adds TEC §29.362(d) </a:t>
            </a:r>
            <a:r>
              <a:rPr lang="en-US">
                <a:solidFill>
                  <a:srgbClr val="F47F42"/>
                </a:solidFill>
              </a:rPr>
              <a:t>Administration of Accounts</a:t>
            </a:r>
            <a:r>
              <a:rPr lang="en-US"/>
              <a:t>. Certified educational assistance organizations must verify with the agency on or before the first day of October and February that each participating child is not enrolled in a public school, including open-enrollment charter schools, in a manner that would count towards the school’s average daily attendance for state funding purposes. </a:t>
            </a:r>
          </a:p>
        </p:txBody>
      </p:sp>
      <p:sp>
        <p:nvSpPr>
          <p:cNvPr id="2" name="TextBox 1">
            <a:extLst>
              <a:ext uri="{FF2B5EF4-FFF2-40B4-BE49-F238E27FC236}">
                <a16:creationId xmlns:a16="http://schemas.microsoft.com/office/drawing/2014/main" id="{DBDB683F-2F14-B0D0-93A5-7A6F5F118931}"/>
              </a:ext>
            </a:extLst>
          </p:cNvPr>
          <p:cNvSpPr txBox="1"/>
          <p:nvPr/>
        </p:nvSpPr>
        <p:spPr>
          <a:xfrm>
            <a:off x="454090" y="5174389"/>
            <a:ext cx="11452442" cy="426848"/>
          </a:xfrm>
          <a:prstGeom prst="rect">
            <a:avLst/>
          </a:prstGeom>
          <a:noFill/>
          <a:ln w="28575">
            <a:solidFill>
              <a:srgbClr val="F47F42"/>
            </a:solidFill>
          </a:ln>
        </p:spPr>
        <p:txBody>
          <a:bodyPr wrap="square">
            <a:spAutoFit/>
          </a:bodyPr>
          <a:lstStyle/>
          <a:p>
            <a:pPr marL="0" marR="0" lvl="0" indent="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None/>
              <a:tabLst/>
              <a:defRPr/>
            </a:pP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TEA may need to add ADAEligibility to the Enrollment Tracking </a:t>
            </a:r>
            <a:r>
              <a:rPr lang="en-US" sz="2400">
                <a:solidFill>
                  <a:srgbClr val="0D6CB9"/>
                </a:solidFill>
                <a:latin typeface="Aptos" panose="020B0004020202020204" pitchFamily="34" charset="0"/>
              </a:rPr>
              <a:t>Submission</a:t>
            </a:r>
            <a:r>
              <a:rPr kumimoji="0" lang="en-US" sz="2400" b="0" i="0" u="none" strike="noStrike" kern="1200" cap="none" spc="0" normalizeH="0" baseline="0" noProof="0">
                <a:ln>
                  <a:noFill/>
                </a:ln>
                <a:solidFill>
                  <a:srgbClr val="0D6CB9"/>
                </a:solidFill>
                <a:effectLst/>
                <a:uLnTx/>
                <a:uFillTx/>
                <a:latin typeface="Aptos" panose="020B0004020202020204" pitchFamily="34" charset="0"/>
                <a:ea typeface="+mn-ea"/>
                <a:cs typeface="+mn-cs"/>
              </a:rPr>
              <a:t>.</a:t>
            </a:r>
            <a:r>
              <a:rPr lang="en-US" sz="2400">
                <a:solidFill>
                  <a:srgbClr val="0D6CB9"/>
                </a:solidFill>
                <a:latin typeface="Aptos" panose="020B0004020202020204" pitchFamily="34" charset="0"/>
              </a:rPr>
              <a:t> </a:t>
            </a:r>
            <a:endParaRPr kumimoji="0" lang="en-US" sz="2000" b="0" i="0" u="none" strike="noStrike" kern="1200" cap="none" spc="0" normalizeH="0" baseline="0" noProof="0">
              <a:ln>
                <a:noFill/>
              </a:ln>
              <a:solidFill>
                <a:srgbClr val="0D6CB9"/>
              </a:solidFill>
              <a:effectLst/>
              <a:uLnTx/>
              <a:uFillTx/>
              <a:latin typeface="Aptos" panose="020B0004020202020204" pitchFamily="34" charset="0"/>
              <a:ea typeface="+mn-ea"/>
              <a:cs typeface="+mn-cs"/>
            </a:endParaRPr>
          </a:p>
        </p:txBody>
      </p:sp>
      <p:sp>
        <p:nvSpPr>
          <p:cNvPr id="4" name="Slide Number Placeholder 3">
            <a:extLst>
              <a:ext uri="{FF2B5EF4-FFF2-40B4-BE49-F238E27FC236}">
                <a16:creationId xmlns:a16="http://schemas.microsoft.com/office/drawing/2014/main" id="{9255389B-D30D-75F4-2C8B-4DAA2A9B5846}"/>
              </a:ext>
            </a:extLst>
          </p:cNvPr>
          <p:cNvSpPr>
            <a:spLocks noGrp="1"/>
          </p:cNvSpPr>
          <p:nvPr>
            <p:ph type="sldNum" sz="quarter" idx="4"/>
          </p:nvPr>
        </p:nvSpPr>
        <p:spPr/>
        <p:txBody>
          <a:bodyPr/>
          <a:lstStyle/>
          <a:p>
            <a:fld id="{69C126A4-BD19-47E2-8A0E-0DE1B9D8C925}" type="slidenum">
              <a:rPr lang="en-US" smtClean="0"/>
              <a:pPr/>
              <a:t>50</a:t>
            </a:fld>
            <a:endParaRPr lang="en-US"/>
          </a:p>
        </p:txBody>
      </p:sp>
    </p:spTree>
    <p:extLst>
      <p:ext uri="{BB962C8B-B14F-4D97-AF65-F5344CB8AC3E}">
        <p14:creationId xmlns:p14="http://schemas.microsoft.com/office/powerpoint/2010/main" val="21171452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A9BAC-A18A-74C0-28B2-48003073E920}"/>
              </a:ext>
            </a:extLst>
          </p:cNvPr>
          <p:cNvSpPr txBox="1">
            <a:spLocks noGrp="1"/>
          </p:cNvSpPr>
          <p:nvPr>
            <p:ph type="title" idx="4294967295"/>
          </p:nvPr>
        </p:nvSpPr>
        <p:spPr>
          <a:xfrm>
            <a:off x="4264855" y="2410266"/>
            <a:ext cx="3549748"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bg1">
                    <a:lumMod val="95000"/>
                  </a:schemeClr>
                </a:solidFill>
                <a:effectLst/>
                <a:uLnTx/>
                <a:uFillTx/>
                <a:latin typeface="Aptos ExtraBold" panose="020B0004020202020204" pitchFamily="34" charset="0"/>
                <a:ea typeface="+mn-ea"/>
                <a:cs typeface="+mn-cs"/>
              </a:rPr>
              <a:t>Questions?</a:t>
            </a:r>
          </a:p>
        </p:txBody>
      </p:sp>
    </p:spTree>
    <p:extLst>
      <p:ext uri="{BB962C8B-B14F-4D97-AF65-F5344CB8AC3E}">
        <p14:creationId xmlns:p14="http://schemas.microsoft.com/office/powerpoint/2010/main" val="2444182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98A3E-05FC-09F0-745E-EF14B8EC7F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14B352A-57C5-15EC-3ECF-E61E6F9EE6EF}"/>
              </a:ext>
            </a:extLst>
          </p:cNvPr>
          <p:cNvSpPr>
            <a:spLocks noGrp="1"/>
          </p:cNvSpPr>
          <p:nvPr>
            <p:ph type="ctrTitle"/>
          </p:nvPr>
        </p:nvSpPr>
        <p:spPr/>
        <p:txBody>
          <a:bodyPr/>
          <a:lstStyle/>
          <a:p>
            <a:r>
              <a:rPr lang="en-US"/>
              <a:t>2026-2027 Agenda, continued</a:t>
            </a:r>
          </a:p>
        </p:txBody>
      </p:sp>
      <p:sp>
        <p:nvSpPr>
          <p:cNvPr id="3" name="Slide Number Placeholder 2">
            <a:extLst>
              <a:ext uri="{FF2B5EF4-FFF2-40B4-BE49-F238E27FC236}">
                <a16:creationId xmlns:a16="http://schemas.microsoft.com/office/drawing/2014/main" id="{C455E3B1-3524-B385-1FB5-ED47A576255E}"/>
              </a:ext>
            </a:extLst>
          </p:cNvPr>
          <p:cNvSpPr>
            <a:spLocks noGrp="1"/>
          </p:cNvSpPr>
          <p:nvPr>
            <p:ph type="sldNum" sz="quarter" idx="4"/>
          </p:nvPr>
        </p:nvSpPr>
        <p:spPr/>
        <p:txBody>
          <a:bodyPr/>
          <a:lstStyle/>
          <a:p>
            <a:fld id="{69C126A4-BD19-47E2-8A0E-0DE1B9D8C925}" type="slidenum">
              <a:rPr lang="en-US" smtClean="0"/>
              <a:pPr/>
              <a:t>6</a:t>
            </a:fld>
            <a:endParaRPr lang="en-US"/>
          </a:p>
        </p:txBody>
      </p:sp>
      <p:sp>
        <p:nvSpPr>
          <p:cNvPr id="2" name="TextBox 1">
            <a:extLst>
              <a:ext uri="{FF2B5EF4-FFF2-40B4-BE49-F238E27FC236}">
                <a16:creationId xmlns:a16="http://schemas.microsoft.com/office/drawing/2014/main" id="{58E19228-5582-4187-0454-3C34E66974C9}"/>
              </a:ext>
            </a:extLst>
          </p:cNvPr>
          <p:cNvSpPr txBox="1"/>
          <p:nvPr/>
        </p:nvSpPr>
        <p:spPr>
          <a:xfrm>
            <a:off x="2078665" y="1706036"/>
            <a:ext cx="9914861" cy="4262705"/>
          </a:xfrm>
          <a:prstGeom prst="rect">
            <a:avLst/>
          </a:prstGeom>
          <a:noFill/>
        </p:spPr>
        <p:txBody>
          <a:bodyPr wrap="square">
            <a:spAutoFit/>
          </a:bodyPr>
          <a:lstStyle/>
          <a:p>
            <a:pPr>
              <a:spcAft>
                <a:spcPts val="600"/>
              </a:spcAft>
              <a:buClr>
                <a:srgbClr val="D85632"/>
              </a:buClr>
            </a:pPr>
            <a:r>
              <a:rPr lang="en-US" sz="2800" b="1">
                <a:solidFill>
                  <a:srgbClr val="D85632"/>
                </a:solidFill>
                <a:latin typeface="Aptos" panose="020B0004020202020204" pitchFamily="34" charset="0"/>
              </a:rPr>
              <a:t>2026-2027</a:t>
            </a:r>
            <a:r>
              <a:rPr lang="en-US" sz="2800">
                <a:solidFill>
                  <a:srgbClr val="0D6CB9"/>
                </a:solidFill>
                <a:latin typeface="Aptos" panose="020B0004020202020204" pitchFamily="34" charset="0"/>
              </a:rPr>
              <a:t> 89th Regular Legislative Session Change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568</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22/22 – Video Surveillance of SPED Setting </a:t>
            </a:r>
            <a:r>
              <a:rPr lang="en-US">
                <a:solidFill>
                  <a:srgbClr val="D85632"/>
                </a:solidFill>
                <a:latin typeface="Aptos" panose="020B0004020202020204" pitchFamily="34" charset="0"/>
              </a:rPr>
              <a:t>*New Data Element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4/55 – SPED 8 Tiers of Intensity </a:t>
            </a:r>
            <a:r>
              <a:rPr lang="en-US">
                <a:solidFill>
                  <a:srgbClr val="D85632"/>
                </a:solidFill>
                <a:latin typeface="Aptos" panose="020B0004020202020204" pitchFamily="34" charset="0"/>
              </a:rPr>
              <a:t>*New Data Element and Descriptor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5/56 – SPED Service group allotment </a:t>
            </a:r>
            <a:r>
              <a:rPr lang="en-US">
                <a:solidFill>
                  <a:srgbClr val="D85632"/>
                </a:solidFill>
                <a:latin typeface="Aptos" panose="020B0004020202020204" pitchFamily="34" charset="0"/>
              </a:rPr>
              <a:t>*New Data Element and Descriptors*</a:t>
            </a:r>
            <a:endParaRPr lang="en-US" sz="2000">
              <a:solidFill>
                <a:srgbClr val="D85632"/>
              </a:solidFill>
              <a:latin typeface="Aptos" panose="020B0004020202020204" pitchFamily="34" charset="0"/>
            </a:endParaRP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4.56/57 – Dyslexia changes </a:t>
            </a:r>
            <a:r>
              <a:rPr lang="en-US">
                <a:solidFill>
                  <a:srgbClr val="D85632"/>
                </a:solidFill>
                <a:latin typeface="Aptos" panose="020B0004020202020204" pitchFamily="34" charset="0"/>
              </a:rPr>
              <a:t>*Descriptor Changes*</a:t>
            </a:r>
            <a:endParaRPr lang="en-US" sz="2000">
              <a:solidFill>
                <a:srgbClr val="D85632"/>
              </a:solidFill>
              <a:latin typeface="Aptos" panose="020B0004020202020204" pitchFamily="34" charset="0"/>
            </a:endParaRP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SB 1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s 7.01/2 – Facilities Usage Reporting </a:t>
            </a:r>
            <a:r>
              <a:rPr lang="en-US">
                <a:solidFill>
                  <a:srgbClr val="D85632"/>
                </a:solidFill>
                <a:latin typeface="Aptos" panose="020B0004020202020204" pitchFamily="34" charset="0"/>
              </a:rPr>
              <a:t>*New Collection*</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HB 20</a:t>
            </a:r>
            <a:r>
              <a:rPr lang="en-US" sz="2000">
                <a:solidFill>
                  <a:srgbClr val="0D6CB9"/>
                </a:solidFill>
                <a:latin typeface="Aptos" panose="020B0004020202020204" pitchFamily="34" charset="0"/>
              </a:rPr>
              <a:t> – Applied Sciences Pathway Program </a:t>
            </a:r>
            <a:r>
              <a:rPr lang="en-US">
                <a:solidFill>
                  <a:srgbClr val="D85632"/>
                </a:solidFill>
                <a:latin typeface="Aptos" panose="020B0004020202020204" pitchFamily="34" charset="0"/>
              </a:rPr>
              <a:t>*New Descriptor*</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12 – Grievance Collection (Part 2)</a:t>
            </a:r>
          </a:p>
          <a:p>
            <a:pPr marL="742950" lvl="1" indent="-285750">
              <a:buClr>
                <a:srgbClr val="D85632"/>
              </a:buClr>
              <a:buFont typeface="Wingdings" panose="05000000000000000000" pitchFamily="2" charset="2"/>
              <a:buChar char="§"/>
            </a:pPr>
            <a:r>
              <a:rPr lang="en-US" sz="2000">
                <a:solidFill>
                  <a:srgbClr val="0D6CB9"/>
                </a:solidFill>
                <a:latin typeface="Aptos" panose="020B0004020202020204" pitchFamily="34" charset="0"/>
              </a:rPr>
              <a:t>Section 20 – Grievance Collection </a:t>
            </a:r>
            <a:r>
              <a:rPr lang="en-US">
                <a:solidFill>
                  <a:srgbClr val="D85632"/>
                </a:solidFill>
                <a:latin typeface="Aptos" panose="020B0004020202020204" pitchFamily="34" charset="0"/>
              </a:rPr>
              <a:t>*New Data Elements and Descriptors*</a:t>
            </a:r>
          </a:p>
          <a:p>
            <a:pPr marL="285750" indent="-285750">
              <a:buClr>
                <a:srgbClr val="D85632"/>
              </a:buClr>
              <a:buFont typeface="Wingdings" panose="05000000000000000000" pitchFamily="2" charset="2"/>
              <a:buChar char="§"/>
            </a:pPr>
            <a:r>
              <a:rPr lang="en-US" sz="2000" b="1">
                <a:solidFill>
                  <a:srgbClr val="0D6CB9"/>
                </a:solidFill>
                <a:latin typeface="Aptos" panose="020B0004020202020204" pitchFamily="34" charset="0"/>
              </a:rPr>
              <a:t>SB 2</a:t>
            </a:r>
            <a:r>
              <a:rPr lang="en-US" sz="2000">
                <a:solidFill>
                  <a:srgbClr val="0D6CB9"/>
                </a:solidFill>
                <a:latin typeface="Aptos" panose="020B0004020202020204" pitchFamily="34" charset="0"/>
              </a:rPr>
              <a:t> - Education Savings Account </a:t>
            </a:r>
            <a:r>
              <a:rPr lang="en-US">
                <a:solidFill>
                  <a:srgbClr val="D85632"/>
                </a:solidFill>
                <a:latin typeface="Aptos" panose="020B0004020202020204" pitchFamily="34" charset="0"/>
              </a:rPr>
              <a:t>*New PEIMS Descriptor and Enrollment Tracking Change*</a:t>
            </a:r>
          </a:p>
        </p:txBody>
      </p:sp>
    </p:spTree>
    <p:extLst>
      <p:ext uri="{BB962C8B-B14F-4D97-AF65-F5344CB8AC3E}">
        <p14:creationId xmlns:p14="http://schemas.microsoft.com/office/powerpoint/2010/main" val="1073847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B19CA-5243-FFE6-F3D5-3EE237164931}"/>
              </a:ext>
            </a:extLst>
          </p:cNvPr>
          <p:cNvSpPr>
            <a:spLocks noGrp="1"/>
          </p:cNvSpPr>
          <p:nvPr>
            <p:ph type="ctrTitle"/>
          </p:nvPr>
        </p:nvSpPr>
        <p:spPr>
          <a:xfrm>
            <a:off x="3657612" y="3076134"/>
            <a:ext cx="7887274" cy="903123"/>
          </a:xfrm>
        </p:spPr>
        <p:txBody>
          <a:bodyPr/>
          <a:lstStyle/>
          <a:p>
            <a:r>
              <a:rPr lang="en-US">
                <a:solidFill>
                  <a:srgbClr val="D85632"/>
                </a:solidFill>
              </a:rPr>
              <a:t>2025-2026</a:t>
            </a:r>
            <a:r>
              <a:rPr lang="en-US"/>
              <a:t> Implementation</a:t>
            </a:r>
          </a:p>
        </p:txBody>
      </p:sp>
      <p:sp>
        <p:nvSpPr>
          <p:cNvPr id="7" name="Slide Number Placeholder 6">
            <a:extLst>
              <a:ext uri="{FF2B5EF4-FFF2-40B4-BE49-F238E27FC236}">
                <a16:creationId xmlns:a16="http://schemas.microsoft.com/office/drawing/2014/main" id="{E9A524D5-E66D-D7E5-E68E-B6A6E4DA6BA1}"/>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1453625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750500-EF7C-EEFE-5B24-0167B529500F}"/>
              </a:ext>
            </a:extLst>
          </p:cNvPr>
          <p:cNvSpPr>
            <a:spLocks noGrp="1"/>
          </p:cNvSpPr>
          <p:nvPr>
            <p:ph type="title"/>
          </p:nvPr>
        </p:nvSpPr>
        <p:spPr/>
        <p:txBody>
          <a:bodyPr/>
          <a:lstStyle/>
          <a:p>
            <a:r>
              <a:rPr lang="en-US"/>
              <a:t>HB 2 – Sections 1.07 and 2.03</a:t>
            </a:r>
          </a:p>
        </p:txBody>
      </p:sp>
      <p:sp>
        <p:nvSpPr>
          <p:cNvPr id="6" name="Content Placeholder 5">
            <a:extLst>
              <a:ext uri="{FF2B5EF4-FFF2-40B4-BE49-F238E27FC236}">
                <a16:creationId xmlns:a16="http://schemas.microsoft.com/office/drawing/2014/main" id="{481A7865-40B7-060A-F4CA-2E317B9DEF24}"/>
              </a:ext>
            </a:extLst>
          </p:cNvPr>
          <p:cNvSpPr>
            <a:spLocks noGrp="1"/>
          </p:cNvSpPr>
          <p:nvPr>
            <p:ph idx="1"/>
          </p:nvPr>
        </p:nvSpPr>
        <p:spPr>
          <a:xfrm>
            <a:off x="285468" y="1496252"/>
            <a:ext cx="11544581" cy="5032873"/>
          </a:xfrm>
        </p:spPr>
        <p:txBody>
          <a:bodyPr/>
          <a:lstStyle/>
          <a:p>
            <a:r>
              <a:rPr lang="en-US" sz="2400">
                <a:solidFill>
                  <a:srgbClr val="F47F42"/>
                </a:solidFill>
              </a:rPr>
              <a:t>HB 2 Section</a:t>
            </a:r>
            <a:r>
              <a:rPr lang="en-US" sz="2400"/>
              <a:t> </a:t>
            </a:r>
            <a:r>
              <a:rPr lang="en-US" sz="2400">
                <a:solidFill>
                  <a:srgbClr val="F47F42"/>
                </a:solidFill>
              </a:rPr>
              <a:t>1.07</a:t>
            </a:r>
            <a:r>
              <a:rPr lang="en-US" sz="2400"/>
              <a:t>, amends Subchapter D, Chapter 48, Education Code, by adding TEC §48.158. </a:t>
            </a:r>
            <a:r>
              <a:rPr lang="en-US" sz="2400">
                <a:solidFill>
                  <a:srgbClr val="F47F42"/>
                </a:solidFill>
              </a:rPr>
              <a:t>Teacher Retention Allotment</a:t>
            </a:r>
            <a:r>
              <a:rPr lang="en-US" sz="2400"/>
              <a:t>. In this new section “</a:t>
            </a:r>
            <a:r>
              <a:rPr lang="en-US" sz="2400">
                <a:solidFill>
                  <a:srgbClr val="F47F42"/>
                </a:solidFill>
              </a:rPr>
              <a:t>classroom teacher</a:t>
            </a:r>
            <a:r>
              <a:rPr lang="en-US" sz="2400"/>
              <a:t>” has the meaning assigned by TEC §5.001, except that the term also includes (1) a person who is not required to hold a certificate issued under Subchapter B, Chapter 21, who otherwise meets the definition of a classroom teacher under Section 5.001; and (2) a person, including a person described by Subdivision (1), employed by an entity with which a school district has entered into a contract who otherwise meets the definition of a classroom teacher under TEC §5.001.</a:t>
            </a:r>
          </a:p>
          <a:p>
            <a:r>
              <a:rPr lang="en-US" sz="2400">
                <a:solidFill>
                  <a:srgbClr val="F47F42"/>
                </a:solidFill>
              </a:rPr>
              <a:t>HB 2 Section 2.03</a:t>
            </a:r>
            <a:r>
              <a:rPr lang="en-US" sz="2400"/>
              <a:t>, amends TEC §21.001, by adding Subdivision (3-b) to read: “</a:t>
            </a:r>
            <a:r>
              <a:rPr lang="en-US" sz="2400">
                <a:solidFill>
                  <a:srgbClr val="F47F42"/>
                </a:solidFill>
              </a:rPr>
              <a:t>Teacher of record</a:t>
            </a:r>
            <a:r>
              <a:rPr lang="en-US" sz="2400"/>
              <a:t>” means a person employed by a school district who teaches the majority of the instructional day in an academic instructional setting and is responsible for evaluating student achievement and assigning grades.</a:t>
            </a:r>
          </a:p>
        </p:txBody>
      </p:sp>
      <p:sp>
        <p:nvSpPr>
          <p:cNvPr id="4" name="Slide Number Placeholder 3">
            <a:extLst>
              <a:ext uri="{FF2B5EF4-FFF2-40B4-BE49-F238E27FC236}">
                <a16:creationId xmlns:a16="http://schemas.microsoft.com/office/drawing/2014/main" id="{036E1737-0777-AF02-489E-104FD2F468E4}"/>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3377003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175B7-104B-4CAC-FFBE-B1061FF71D1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734FB2-2763-E988-34FC-7EC450D802CE}"/>
              </a:ext>
            </a:extLst>
          </p:cNvPr>
          <p:cNvSpPr>
            <a:spLocks noGrp="1"/>
          </p:cNvSpPr>
          <p:nvPr>
            <p:ph type="title"/>
          </p:nvPr>
        </p:nvSpPr>
        <p:spPr/>
        <p:txBody>
          <a:bodyPr/>
          <a:lstStyle/>
          <a:p>
            <a:r>
              <a:rPr lang="en-US"/>
              <a:t>HB 2 – Sections 1.07 and 2.03 – Possible Impact</a:t>
            </a:r>
          </a:p>
        </p:txBody>
      </p:sp>
      <p:sp>
        <p:nvSpPr>
          <p:cNvPr id="6" name="Content Placeholder 5">
            <a:extLst>
              <a:ext uri="{FF2B5EF4-FFF2-40B4-BE49-F238E27FC236}">
                <a16:creationId xmlns:a16="http://schemas.microsoft.com/office/drawing/2014/main" id="{A92376EF-DE3C-87A4-E3D7-82123679DF6F}"/>
              </a:ext>
            </a:extLst>
          </p:cNvPr>
          <p:cNvSpPr>
            <a:spLocks noGrp="1"/>
          </p:cNvSpPr>
          <p:nvPr>
            <p:ph idx="1"/>
          </p:nvPr>
        </p:nvSpPr>
        <p:spPr>
          <a:xfrm>
            <a:off x="285468" y="1496252"/>
            <a:ext cx="11544581" cy="5032873"/>
          </a:xfrm>
        </p:spPr>
        <p:txBody>
          <a:bodyPr/>
          <a:lstStyle/>
          <a:p>
            <a:pPr>
              <a:buClr>
                <a:srgbClr val="F47F42"/>
              </a:buClr>
            </a:pPr>
            <a:r>
              <a:rPr lang="en-US">
                <a:solidFill>
                  <a:srgbClr val="F47F42"/>
                </a:solidFill>
              </a:rPr>
              <a:t>HB 2 Section</a:t>
            </a:r>
            <a:r>
              <a:rPr lang="en-US"/>
              <a:t> </a:t>
            </a:r>
            <a:r>
              <a:rPr lang="en-US">
                <a:solidFill>
                  <a:srgbClr val="F47F42"/>
                </a:solidFill>
              </a:rPr>
              <a:t>1.07</a:t>
            </a:r>
            <a:endParaRPr lang="en-US"/>
          </a:p>
          <a:p>
            <a:pPr marL="457200" lvl="1" indent="0">
              <a:buClr>
                <a:srgbClr val="F47F42"/>
              </a:buClr>
              <a:buNone/>
            </a:pPr>
            <a:r>
              <a:rPr lang="en-US">
                <a:solidFill>
                  <a:srgbClr val="F47F42"/>
                </a:solidFill>
              </a:rPr>
              <a:t>Texas Student Data System (TSDS): </a:t>
            </a:r>
          </a:p>
          <a:p>
            <a:pPr lvl="1">
              <a:buClr>
                <a:srgbClr val="F47F42"/>
              </a:buClr>
            </a:pPr>
            <a:r>
              <a:rPr lang="en-US"/>
              <a:t>One new data element is needed to collect the years of teaching experience for the Teacher Retention Allotment. </a:t>
            </a:r>
            <a:endParaRPr lang="en-US" i="1">
              <a:solidFill>
                <a:srgbClr val="F47F42"/>
              </a:solidFill>
            </a:endParaRPr>
          </a:p>
          <a:p>
            <a:pPr>
              <a:buClr>
                <a:srgbClr val="F47F42"/>
              </a:buClr>
            </a:pPr>
            <a:r>
              <a:rPr lang="en-US">
                <a:solidFill>
                  <a:srgbClr val="F47F42"/>
                </a:solidFill>
              </a:rPr>
              <a:t>HB 2 Section 2.03</a:t>
            </a:r>
            <a:r>
              <a:rPr lang="en-US"/>
              <a:t> </a:t>
            </a:r>
          </a:p>
          <a:p>
            <a:pPr marL="457200" lvl="1" indent="0">
              <a:buClr>
                <a:srgbClr val="F47F42"/>
              </a:buClr>
              <a:buNone/>
            </a:pPr>
            <a:r>
              <a:rPr lang="en-US">
                <a:solidFill>
                  <a:srgbClr val="F47F42"/>
                </a:solidFill>
              </a:rPr>
              <a:t>Texas Student Data System (TSDS): </a:t>
            </a:r>
          </a:p>
          <a:p>
            <a:pPr lvl="1">
              <a:buClr>
                <a:srgbClr val="F47F42"/>
              </a:buClr>
            </a:pPr>
            <a:r>
              <a:rPr lang="en-US"/>
              <a:t>Revise the </a:t>
            </a:r>
            <a:r>
              <a:rPr lang="en-US" i="1"/>
              <a:t>long description</a:t>
            </a:r>
            <a:r>
              <a:rPr lang="en-US"/>
              <a:t> for </a:t>
            </a:r>
            <a:r>
              <a:rPr lang="en-US" i="1"/>
              <a:t>StaffClassification</a:t>
            </a:r>
            <a:r>
              <a:rPr lang="en-US"/>
              <a:t> (C021) </a:t>
            </a:r>
            <a:r>
              <a:rPr lang="en-US" i="1"/>
              <a:t>087</a:t>
            </a:r>
            <a:r>
              <a:rPr lang="en-US"/>
              <a:t> (Teacher) to reflect that a teacher may be certified or non-certified. The new definition of “teacher of record” is being discussed to determine if any additional changes are needed.</a:t>
            </a:r>
          </a:p>
        </p:txBody>
      </p:sp>
      <p:sp>
        <p:nvSpPr>
          <p:cNvPr id="3" name="TextBox 2">
            <a:extLst>
              <a:ext uri="{FF2B5EF4-FFF2-40B4-BE49-F238E27FC236}">
                <a16:creationId xmlns:a16="http://schemas.microsoft.com/office/drawing/2014/main" id="{5340F53E-26B4-989D-D3C1-A416E3EE6B17}"/>
              </a:ext>
            </a:extLst>
          </p:cNvPr>
          <p:cNvSpPr txBox="1"/>
          <p:nvPr/>
        </p:nvSpPr>
        <p:spPr>
          <a:xfrm>
            <a:off x="285468" y="5836628"/>
            <a:ext cx="5302119" cy="461665"/>
          </a:xfrm>
          <a:prstGeom prst="rect">
            <a:avLst/>
          </a:prstGeom>
          <a:noFill/>
        </p:spPr>
        <p:txBody>
          <a:bodyPr wrap="square">
            <a:spAutoFit/>
          </a:bodyPr>
          <a:lstStyle/>
          <a:p>
            <a:pPr marL="0" lvl="1">
              <a:buClr>
                <a:srgbClr val="F47F42"/>
              </a:buClr>
            </a:pPr>
            <a:r>
              <a:rPr lang="en-US" sz="2400" i="1">
                <a:solidFill>
                  <a:srgbClr val="F47F42"/>
                </a:solidFill>
                <a:latin typeface="Aptos" panose="020B0004020202020204" pitchFamily="34" charset="0"/>
              </a:rPr>
              <a:t>PEIMS Fall Submission</a:t>
            </a:r>
          </a:p>
        </p:txBody>
      </p:sp>
      <p:sp>
        <p:nvSpPr>
          <p:cNvPr id="4" name="Slide Number Placeholder 3">
            <a:extLst>
              <a:ext uri="{FF2B5EF4-FFF2-40B4-BE49-F238E27FC236}">
                <a16:creationId xmlns:a16="http://schemas.microsoft.com/office/drawing/2014/main" id="{5BBA5615-AA73-BA69-76EA-D842915B458F}"/>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054112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exas State Seal PPT Template.pptx" id="{948BE9F3-5B4E-0243-9C97-EF740E12FAF8}" vid="{A5324DD0-982C-204C-9917-1A84AB5C56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 xmlns="963efe96-9f3c-464d-8c8b-c76864a22ed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BE4C68E97640479F3D791B3E26A918" ma:contentTypeVersion="15" ma:contentTypeDescription="Create a new document." ma:contentTypeScope="" ma:versionID="db2b75a0c1dd6e76b796801e856e7c84">
  <xsd:schema xmlns:xsd="http://www.w3.org/2001/XMLSchema" xmlns:xs="http://www.w3.org/2001/XMLSchema" xmlns:p="http://schemas.microsoft.com/office/2006/metadata/properties" xmlns:ns2="963efe96-9f3c-464d-8c8b-c76864a22ed0" xmlns:ns3="533e3360-6378-4210-ada2-16ccdb17d2cd" targetNamespace="http://schemas.microsoft.com/office/2006/metadata/properties" ma:root="true" ma:fieldsID="d73f7515053c51fc676e2de7945a2419" ns2:_="" ns3:_="">
    <xsd:import namespace="963efe96-9f3c-464d-8c8b-c76864a22ed0"/>
    <xsd:import namespace="533e3360-6378-4210-ada2-16ccdb17d2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bjectDetectorVersions" minOccurs="0"/>
                <xsd:element ref="ns2:Notes" minOccurs="0"/>
                <xsd:element ref="ns2:MediaServiceSearchProperties" minOccurs="0"/>
                <xsd:element ref="ns2:MediaServiceDateTake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3efe96-9f3c-464d-8c8b-c76864a22e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Notes" ma:index="18" nillable="true" ma:displayName="Notes" ma:format="Dropdown" ma:internalName="Notes">
      <xsd:simpleType>
        <xsd:restriction base="dms:Text">
          <xsd:maxLength value="255"/>
        </xsd:restriction>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3e3360-6378-4210-ada2-16ccdb17d2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252E60-E8CD-4B0A-991A-BB6016E6E896}">
  <ds:schemaRefs>
    <ds:schemaRef ds:uri="533e3360-6378-4210-ada2-16ccdb17d2cd"/>
    <ds:schemaRef ds:uri="963efe96-9f3c-464d-8c8b-c76864a22e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7C3317B-87DE-4C0A-8331-8C3146B035F1}">
  <ds:schemaRefs>
    <ds:schemaRef ds:uri="533e3360-6378-4210-ada2-16ccdb17d2cd"/>
    <ds:schemaRef ds:uri="963efe96-9f3c-464d-8c8b-c76864a22e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2582DC8-3D0C-40D0-B3A6-B2C5125004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 PPT Template with Texas State Seal</Template>
  <Application>Microsoft Office PowerPoint</Application>
  <PresentationFormat>Widescreen</PresentationFormat>
  <Slides>51</Slides>
  <Notes>49</Notes>
  <HiddenSlides>0</HiddenSlides>
  <ScaleCrop>false</ScaleCrop>
  <HeadingPairs>
    <vt:vector size="4" baseType="variant">
      <vt:variant>
        <vt:lpstr>Theme</vt:lpstr>
      </vt:variant>
      <vt:variant>
        <vt:i4>1</vt:i4>
      </vt:variant>
      <vt:variant>
        <vt:lpstr>Slide Titles</vt:lpstr>
      </vt:variant>
      <vt:variant>
        <vt:i4>51</vt:i4>
      </vt:variant>
    </vt:vector>
  </HeadingPairs>
  <TitlesOfParts>
    <vt:vector size="52" baseType="lpstr">
      <vt:lpstr>2_Office Theme</vt:lpstr>
      <vt:lpstr>Texas Education Data Standards:  Updates from the 89th Regular Legislative Session</vt:lpstr>
      <vt:lpstr>IMPORTANT</vt:lpstr>
      <vt:lpstr>2025-2026 Agenda</vt:lpstr>
      <vt:lpstr>2025-2026 Agenda, continued</vt:lpstr>
      <vt:lpstr>2026-2027 Agenda</vt:lpstr>
      <vt:lpstr>2026-2027 Agenda, continued</vt:lpstr>
      <vt:lpstr>2025-2026 Implementation</vt:lpstr>
      <vt:lpstr>HB 2 – Sections 1.07 and 2.03</vt:lpstr>
      <vt:lpstr>HB 2 – Sections 1.07 and 2.03 – Possible Impact</vt:lpstr>
      <vt:lpstr>HB 2 – Section 5.13</vt:lpstr>
      <vt:lpstr>HB 2 – Section 5.13 – Possible Impact</vt:lpstr>
      <vt:lpstr>HB 2 – Section 5.24</vt:lpstr>
      <vt:lpstr>HB 2 – Section 5.24 – Possible Impact</vt:lpstr>
      <vt:lpstr>HB 2 – Section 5.25</vt:lpstr>
      <vt:lpstr>HB 2 – Section 5.25 – Possible Impact</vt:lpstr>
      <vt:lpstr>HB 2 – Section 7.13</vt:lpstr>
      <vt:lpstr>HB 2 – Section 7.13 – Possible Impact</vt:lpstr>
      <vt:lpstr>HB 2 – Section 7.16</vt:lpstr>
      <vt:lpstr>HB 2 – Section 7.16 – Possible Impact</vt:lpstr>
      <vt:lpstr>HB 2 – Section 7.19</vt:lpstr>
      <vt:lpstr>HB 2 – Section 7.19 – Possible Impact</vt:lpstr>
      <vt:lpstr>HB 2 – Section 6.05/HB 120 – Section 5</vt:lpstr>
      <vt:lpstr>HB 2 – Section 6.05/HB 120 – Section 5 – Possible Impact</vt:lpstr>
      <vt:lpstr>HB 2 – Section 6.21/HB 120 – Section 21</vt:lpstr>
      <vt:lpstr>HB 2 – Section 6.21/HB 120 – Section 21 – Possible Impact</vt:lpstr>
      <vt:lpstr>HB 2 - Sections 7.04 &amp; 7.14/SB 2185 – Sections 1 &amp; 2</vt:lpstr>
      <vt:lpstr>HB 2 - Sections 7.04 &amp; 7.14/SB 2185 – Sections 1 &amp; 2 – Possible Impact</vt:lpstr>
      <vt:lpstr>HB 6</vt:lpstr>
      <vt:lpstr>HB 6 – Possible Impact</vt:lpstr>
      <vt:lpstr>SB 569</vt:lpstr>
      <vt:lpstr>SB 569 – Possible Impact</vt:lpstr>
      <vt:lpstr>SB 991</vt:lpstr>
      <vt:lpstr>SB 991 – Possible Impact</vt:lpstr>
      <vt:lpstr>SB 12 – Section 20</vt:lpstr>
      <vt:lpstr>SB 12 – Section 20 – Possible Impact</vt:lpstr>
      <vt:lpstr>2026-2027 Implementation</vt:lpstr>
      <vt:lpstr>HB 2 – Section 2.18</vt:lpstr>
      <vt:lpstr>HB 2 – Section 3.08</vt:lpstr>
      <vt:lpstr>HB 2 – Section 5.10</vt:lpstr>
      <vt:lpstr>HB 2 – Section 5.11</vt:lpstr>
      <vt:lpstr>HB 2 – Section 5.27</vt:lpstr>
      <vt:lpstr>HB 2 – Section 4.22/SB 568 – Section 22</vt:lpstr>
      <vt:lpstr>HB 2 – Section 4.54/SB 568 – Section 55</vt:lpstr>
      <vt:lpstr>HB 2 – Section 4.55/SB 568 – Section 56</vt:lpstr>
      <vt:lpstr>HB 2 – Section 4.56/SB 568 – Section 57</vt:lpstr>
      <vt:lpstr>HB 2 – Section 7.01/SB 12 – Section 2</vt:lpstr>
      <vt:lpstr>HB 20</vt:lpstr>
      <vt:lpstr>SB 12 – Section 20 </vt:lpstr>
      <vt:lpstr>SB 2 – TSDS PEIMS</vt:lpstr>
      <vt:lpstr>SB 2 – Enrollment Tracking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uffoletto, Jamie</dc:creator>
  <cp:revision>1</cp:revision>
  <dcterms:created xsi:type="dcterms:W3CDTF">2025-07-12T22:24:11Z</dcterms:created>
  <dcterms:modified xsi:type="dcterms:W3CDTF">2025-07-24T17:5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E4C68E97640479F3D791B3E26A918</vt:lpwstr>
  </property>
  <property fmtid="{D5CDD505-2E9C-101B-9397-08002B2CF9AE}" pid="3" name="MediaServiceImageTags">
    <vt:lpwstr/>
  </property>
</Properties>
</file>